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4" r:id="rId5"/>
    <p:sldMasterId id="2147483887" r:id="rId6"/>
    <p:sldMasterId id="2147483940" r:id="rId7"/>
    <p:sldMasterId id="2147484041" r:id="rId8"/>
    <p:sldMasterId id="2147484219" r:id="rId9"/>
    <p:sldMasterId id="2147484490" r:id="rId10"/>
  </p:sldMasterIdLst>
  <p:notesMasterIdLst>
    <p:notesMasterId r:id="rId32"/>
  </p:notesMasterIdLst>
  <p:handoutMasterIdLst>
    <p:handoutMasterId r:id="rId33"/>
  </p:handoutMasterIdLst>
  <p:sldIdLst>
    <p:sldId id="758" r:id="rId11"/>
    <p:sldId id="1270" r:id="rId12"/>
    <p:sldId id="1266" r:id="rId13"/>
    <p:sldId id="1256" r:id="rId14"/>
    <p:sldId id="1263" r:id="rId15"/>
    <p:sldId id="1275" r:id="rId16"/>
    <p:sldId id="1264" r:id="rId17"/>
    <p:sldId id="1271" r:id="rId18"/>
    <p:sldId id="1265" r:id="rId19"/>
    <p:sldId id="1267" r:id="rId20"/>
    <p:sldId id="1272" r:id="rId21"/>
    <p:sldId id="1257" r:id="rId22"/>
    <p:sldId id="1276" r:id="rId23"/>
    <p:sldId id="1258" r:id="rId24"/>
    <p:sldId id="1268" r:id="rId25"/>
    <p:sldId id="1273" r:id="rId26"/>
    <p:sldId id="1259" r:id="rId27"/>
    <p:sldId id="1277" r:id="rId28"/>
    <p:sldId id="1274" r:id="rId29"/>
    <p:sldId id="1260" r:id="rId30"/>
    <p:sldId id="1261" r:id="rId31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E2DCB76-3592-4378-A0D9-B13AFEECCB0A}">
          <p14:sldIdLst>
            <p14:sldId id="758"/>
            <p14:sldId id="1270"/>
            <p14:sldId id="1266"/>
            <p14:sldId id="1256"/>
            <p14:sldId id="1263"/>
            <p14:sldId id="1275"/>
            <p14:sldId id="1264"/>
            <p14:sldId id="1271"/>
            <p14:sldId id="1265"/>
            <p14:sldId id="1267"/>
            <p14:sldId id="1272"/>
            <p14:sldId id="1257"/>
            <p14:sldId id="1276"/>
            <p14:sldId id="1258"/>
            <p14:sldId id="1268"/>
            <p14:sldId id="1273"/>
            <p14:sldId id="1259"/>
            <p14:sldId id="1277"/>
            <p14:sldId id="1274"/>
            <p14:sldId id="1260"/>
            <p14:sldId id="12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2" pos="28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olyanskiy, Alex" initials="PA" lastIdx="2" clrIdx="0">
    <p:extLst>
      <p:ext uri="{19B8F6BF-5375-455C-9EA6-DF929625EA0E}">
        <p15:presenceInfo xmlns:p15="http://schemas.microsoft.com/office/powerpoint/2012/main" userId="S-1-5-21-1078081533-963894560-839522115-2895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31E"/>
    <a:srgbClr val="DEA400"/>
    <a:srgbClr val="5EACFF"/>
    <a:srgbClr val="DDD9C3"/>
    <a:srgbClr val="049ACC"/>
    <a:srgbClr val="99944F"/>
    <a:srgbClr val="CCBF04"/>
    <a:srgbClr val="B0D6FF"/>
    <a:srgbClr val="E6E3D2"/>
    <a:srgbClr val="FDF8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24" autoAdjust="0"/>
    <p:restoredTop sz="94934" autoAdjust="0"/>
  </p:normalViewPr>
  <p:slideViewPr>
    <p:cSldViewPr snapToGrid="0">
      <p:cViewPr varScale="1">
        <p:scale>
          <a:sx n="109" d="100"/>
          <a:sy n="109" d="100"/>
        </p:scale>
        <p:origin x="1974" y="96"/>
      </p:cViewPr>
      <p:guideLst>
        <p:guide orient="horz" pos="840"/>
        <p:guide pos="28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658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4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polyans\Desktop\Solar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polyans\Desktop\SolarDa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/>
              <a:t>Irradiance</a:t>
            </a:r>
            <a:r>
              <a:rPr lang="en-US" sz="2000" baseline="0" dirty="0"/>
              <a:t> Measurement Comparison</a:t>
            </a:r>
            <a:endParaRPr lang="en-US" sz="20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801020591626282E-2"/>
          <c:y val="0.10196818562935969"/>
          <c:w val="0.86183641207990047"/>
          <c:h val="0.798865025882368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3</c:f>
              <c:strCache>
                <c:ptCount val="1"/>
                <c:pt idx="0">
                  <c:v>Solsensor (Photodiode)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Sheet1!$B$22:$H$22</c:f>
              <c:strCache>
                <c:ptCount val="6"/>
                <c:pt idx="0">
                  <c:v>July 22, 1:00pm</c:v>
                </c:pt>
                <c:pt idx="1">
                  <c:v>July 23, 5:00pm</c:v>
                </c:pt>
                <c:pt idx="2">
                  <c:v>July 29, 11:00am (Wind)</c:v>
                </c:pt>
                <c:pt idx="3">
                  <c:v>July 29, 5:30pm</c:v>
                </c:pt>
                <c:pt idx="4">
                  <c:v>July 30, 10:00am</c:v>
                </c:pt>
                <c:pt idx="5">
                  <c:v>August 1, 10:30am (wind)</c:v>
                </c:pt>
              </c:strCache>
            </c:strRef>
          </c:cat>
          <c:val>
            <c:numRef>
              <c:f>Sheet1!$B$23:$H$23</c:f>
              <c:numCache>
                <c:formatCode>General</c:formatCode>
                <c:ptCount val="6"/>
                <c:pt idx="0">
                  <c:v>865</c:v>
                </c:pt>
                <c:pt idx="1">
                  <c:v>75</c:v>
                </c:pt>
                <c:pt idx="2">
                  <c:v>755</c:v>
                </c:pt>
                <c:pt idx="3">
                  <c:v>475</c:v>
                </c:pt>
                <c:pt idx="4">
                  <c:v>155</c:v>
                </c:pt>
                <c:pt idx="5">
                  <c:v>5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99-4F1E-8071-4909BAF74518}"/>
            </c:ext>
          </c:extLst>
        </c:ser>
        <c:ser>
          <c:idx val="2"/>
          <c:order val="2"/>
          <c:tx>
            <c:strRef>
              <c:f>Sheet1!$A$25</c:f>
              <c:strCache>
                <c:ptCount val="1"/>
                <c:pt idx="0">
                  <c:v>Seaward (Reference Cell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B$22:$H$22</c:f>
              <c:strCache>
                <c:ptCount val="6"/>
                <c:pt idx="0">
                  <c:v>July 22, 1:00pm</c:v>
                </c:pt>
                <c:pt idx="1">
                  <c:v>July 23, 5:00pm</c:v>
                </c:pt>
                <c:pt idx="2">
                  <c:v>July 29, 11:00am (Wind)</c:v>
                </c:pt>
                <c:pt idx="3">
                  <c:v>July 29, 5:30pm</c:v>
                </c:pt>
                <c:pt idx="4">
                  <c:v>July 30, 10:00am</c:v>
                </c:pt>
                <c:pt idx="5">
                  <c:v>August 1, 10:30am (wind)</c:v>
                </c:pt>
              </c:strCache>
            </c:strRef>
          </c:cat>
          <c:val>
            <c:numRef>
              <c:f>Sheet1!$B$25:$H$25</c:f>
              <c:numCache>
                <c:formatCode>General</c:formatCode>
                <c:ptCount val="6"/>
                <c:pt idx="0">
                  <c:v>886</c:v>
                </c:pt>
                <c:pt idx="1">
                  <c:v>0</c:v>
                </c:pt>
                <c:pt idx="2">
                  <c:v>754</c:v>
                </c:pt>
                <c:pt idx="3">
                  <c:v>450</c:v>
                </c:pt>
                <c:pt idx="4">
                  <c:v>162</c:v>
                </c:pt>
                <c:pt idx="5">
                  <c:v>5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D99-4F1E-8071-4909BAF74518}"/>
            </c:ext>
          </c:extLst>
        </c:ser>
        <c:ser>
          <c:idx val="4"/>
          <c:order val="4"/>
          <c:tx>
            <c:strRef>
              <c:f>Sheet1!$A$27</c:f>
              <c:strCache>
                <c:ptCount val="1"/>
                <c:pt idx="0">
                  <c:v>First Design (Reference Cell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B$22:$H$22</c:f>
              <c:strCache>
                <c:ptCount val="6"/>
                <c:pt idx="0">
                  <c:v>July 22, 1:00pm</c:v>
                </c:pt>
                <c:pt idx="1">
                  <c:v>July 23, 5:00pm</c:v>
                </c:pt>
                <c:pt idx="2">
                  <c:v>July 29, 11:00am (Wind)</c:v>
                </c:pt>
                <c:pt idx="3">
                  <c:v>July 29, 5:30pm</c:v>
                </c:pt>
                <c:pt idx="4">
                  <c:v>July 30, 10:00am</c:v>
                </c:pt>
                <c:pt idx="5">
                  <c:v>August 1, 10:30am (wind)</c:v>
                </c:pt>
              </c:strCache>
            </c:strRef>
          </c:cat>
          <c:val>
            <c:numRef>
              <c:f>Sheet1!$B$27:$H$27</c:f>
              <c:numCache>
                <c:formatCode>General</c:formatCode>
                <c:ptCount val="6"/>
                <c:pt idx="0">
                  <c:v>853</c:v>
                </c:pt>
                <c:pt idx="1">
                  <c:v>65</c:v>
                </c:pt>
                <c:pt idx="2">
                  <c:v>756</c:v>
                </c:pt>
                <c:pt idx="3">
                  <c:v>480</c:v>
                </c:pt>
                <c:pt idx="4">
                  <c:v>153</c:v>
                </c:pt>
                <c:pt idx="5">
                  <c:v>5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D99-4F1E-8071-4909BAF745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334641951"/>
        <c:axId val="334798911"/>
      </c:barChart>
      <c:barChart>
        <c:barDir val="col"/>
        <c:grouping val="clustered"/>
        <c:varyColors val="0"/>
        <c:ser>
          <c:idx val="1"/>
          <c:order val="1"/>
          <c:tx>
            <c:strRef>
              <c:f>Sheet1!$A$24</c:f>
              <c:strCache>
                <c:ptCount val="1"/>
                <c:pt idx="0">
                  <c:v>S - low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22:$G$22</c:f>
              <c:strCache>
                <c:ptCount val="5"/>
                <c:pt idx="0">
                  <c:v>July 22, 1:00pm</c:v>
                </c:pt>
                <c:pt idx="1">
                  <c:v>July 23, 5:00pm</c:v>
                </c:pt>
                <c:pt idx="2">
                  <c:v>July 29, 11:00am (Wind)</c:v>
                </c:pt>
                <c:pt idx="3">
                  <c:v>July 29, 5:30pm</c:v>
                </c:pt>
                <c:pt idx="4">
                  <c:v>July 30, 10:00am</c:v>
                </c:pt>
              </c:strCache>
            </c:strRef>
          </c:cat>
          <c:val>
            <c:numRef>
              <c:f>Sheet1!$B$24:$H$24</c:f>
              <c:numCache>
                <c:formatCode>General</c:formatCode>
                <c:ptCount val="6"/>
                <c:pt idx="0">
                  <c:v>855</c:v>
                </c:pt>
                <c:pt idx="1">
                  <c:v>55</c:v>
                </c:pt>
                <c:pt idx="2">
                  <c:v>745</c:v>
                </c:pt>
                <c:pt idx="3">
                  <c:v>465</c:v>
                </c:pt>
                <c:pt idx="4">
                  <c:v>135</c:v>
                </c:pt>
                <c:pt idx="5">
                  <c:v>5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D99-4F1E-8071-4909BAF74518}"/>
            </c:ext>
          </c:extLst>
        </c:ser>
        <c:ser>
          <c:idx val="3"/>
          <c:order val="3"/>
          <c:tx>
            <c:strRef>
              <c:f>Sheet1!$A$26</c:f>
              <c:strCache>
                <c:ptCount val="1"/>
                <c:pt idx="0">
                  <c:v>Sea - low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22:$G$22</c:f>
              <c:strCache>
                <c:ptCount val="5"/>
                <c:pt idx="0">
                  <c:v>July 22, 1:00pm</c:v>
                </c:pt>
                <c:pt idx="1">
                  <c:v>July 23, 5:00pm</c:v>
                </c:pt>
                <c:pt idx="2">
                  <c:v>July 29, 11:00am (Wind)</c:v>
                </c:pt>
                <c:pt idx="3">
                  <c:v>July 29, 5:30pm</c:v>
                </c:pt>
                <c:pt idx="4">
                  <c:v>July 30, 10:00am</c:v>
                </c:pt>
              </c:strCache>
            </c:strRef>
          </c:cat>
          <c:val>
            <c:numRef>
              <c:f>Sheet1!$B$26:$H$26</c:f>
              <c:numCache>
                <c:formatCode>General</c:formatCode>
                <c:ptCount val="6"/>
                <c:pt idx="0">
                  <c:v>880</c:v>
                </c:pt>
                <c:pt idx="1">
                  <c:v>0</c:v>
                </c:pt>
                <c:pt idx="2">
                  <c:v>750</c:v>
                </c:pt>
                <c:pt idx="3">
                  <c:v>446</c:v>
                </c:pt>
                <c:pt idx="4">
                  <c:v>154</c:v>
                </c:pt>
                <c:pt idx="5">
                  <c:v>5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D99-4F1E-8071-4909BAF74518}"/>
            </c:ext>
          </c:extLst>
        </c:ser>
        <c:ser>
          <c:idx val="5"/>
          <c:order val="5"/>
          <c:tx>
            <c:strRef>
              <c:f>Sheet1!$A$28</c:f>
              <c:strCache>
                <c:ptCount val="1"/>
                <c:pt idx="0">
                  <c:v>I - low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22:$G$22</c:f>
              <c:strCache>
                <c:ptCount val="5"/>
                <c:pt idx="0">
                  <c:v>July 22, 1:00pm</c:v>
                </c:pt>
                <c:pt idx="1">
                  <c:v>July 23, 5:00pm</c:v>
                </c:pt>
                <c:pt idx="2">
                  <c:v>July 29, 11:00am (Wind)</c:v>
                </c:pt>
                <c:pt idx="3">
                  <c:v>July 29, 5:30pm</c:v>
                </c:pt>
                <c:pt idx="4">
                  <c:v>July 30, 10:00am</c:v>
                </c:pt>
              </c:strCache>
            </c:strRef>
          </c:cat>
          <c:val>
            <c:numRef>
              <c:f>Sheet1!$B$28:$H$28</c:f>
              <c:numCache>
                <c:formatCode>General</c:formatCode>
                <c:ptCount val="6"/>
                <c:pt idx="0">
                  <c:v>849</c:v>
                </c:pt>
                <c:pt idx="1">
                  <c:v>50</c:v>
                </c:pt>
                <c:pt idx="2">
                  <c:v>733</c:v>
                </c:pt>
                <c:pt idx="3">
                  <c:v>472</c:v>
                </c:pt>
                <c:pt idx="4">
                  <c:v>134</c:v>
                </c:pt>
                <c:pt idx="5">
                  <c:v>5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D99-4F1E-8071-4909BAF745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338339183"/>
        <c:axId val="329646975"/>
      </c:barChart>
      <c:lineChart>
        <c:grouping val="standard"/>
        <c:varyColors val="0"/>
        <c:ser>
          <c:idx val="6"/>
          <c:order val="6"/>
          <c:tx>
            <c:strRef>
              <c:f>Sheet1!$I$22</c:f>
              <c:strCache>
                <c:ptCount val="1"/>
                <c:pt idx="0">
                  <c:v>Inv. Value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Lit>
              <c:ptCount val="6"/>
              <c:pt idx="0">
                <c:v>July 22, 1:00pm</c:v>
              </c:pt>
              <c:pt idx="1">
                <c:v>July 23, 5:00pm</c:v>
              </c:pt>
              <c:pt idx="2">
                <c:v>July 29, 11:00am (Wind)</c:v>
              </c:pt>
              <c:pt idx="3">
                <c:v>July 29, 5:30pm</c:v>
              </c:pt>
              <c:pt idx="4">
                <c:v>July 30, 10:00am</c:v>
              </c:pt>
              <c:pt idx="5">
                <c:v>July 30, 1:00pm (Wind)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I$23</c:f>
              <c:numCache>
                <c:formatCode>General</c:formatCode>
                <c:ptCount val="1"/>
                <c:pt idx="0">
                  <c:v>9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D99-4F1E-8071-4909BAF745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8339183"/>
        <c:axId val="329646975"/>
      </c:lineChart>
      <c:catAx>
        <c:axId val="33464195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Irradiance &amp;</a:t>
                </a:r>
                <a:r>
                  <a:rPr lang="en-US" baseline="0" dirty="0"/>
                  <a:t> Time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4798911"/>
        <c:crosses val="autoZero"/>
        <c:auto val="1"/>
        <c:lblAlgn val="ctr"/>
        <c:lblOffset val="100"/>
        <c:noMultiLvlLbl val="0"/>
      </c:catAx>
      <c:valAx>
        <c:axId val="3347989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Irradiance</a:t>
                </a:r>
                <a:r>
                  <a:rPr lang="en-US" baseline="0" dirty="0"/>
                  <a:t> (W/m</a:t>
                </a:r>
                <a:r>
                  <a:rPr lang="en-US" baseline="30000" dirty="0"/>
                  <a:t>2</a:t>
                </a:r>
                <a:r>
                  <a:rPr lang="en-US" baseline="0" dirty="0"/>
                  <a:t>)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4641951"/>
        <c:crosses val="autoZero"/>
        <c:crossBetween val="between"/>
      </c:valAx>
      <c:valAx>
        <c:axId val="329646975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Irradiance</a:t>
                </a:r>
                <a:r>
                  <a:rPr lang="en-US" baseline="0" dirty="0"/>
                  <a:t> (W/m</a:t>
                </a:r>
                <a:r>
                  <a:rPr lang="en-US" baseline="30000" dirty="0"/>
                  <a:t>2</a:t>
                </a:r>
                <a:r>
                  <a:rPr lang="en-US" baseline="0" dirty="0"/>
                  <a:t>)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8339183"/>
        <c:crosses val="max"/>
        <c:crossBetween val="between"/>
      </c:valAx>
      <c:catAx>
        <c:axId val="33833918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2964697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ayout>
        <c:manualLayout>
          <c:xMode val="edge"/>
          <c:yMode val="edge"/>
          <c:x val="0.5191479415172755"/>
          <c:y val="9.7603288431922952E-2"/>
          <c:w val="0.4036582873404061"/>
          <c:h val="0.2503401355118224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b" anchorCtr="0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Irradiance</a:t>
            </a:r>
            <a:r>
              <a:rPr lang="en-US" b="1" baseline="0" dirty="0"/>
              <a:t> Difference Between Design and Solmetric</a:t>
            </a:r>
            <a:endParaRPr lang="en-US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54</c:f>
              <c:strCache>
                <c:ptCount val="1"/>
                <c:pt idx="0">
                  <c:v>Irradiance Differenc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55:$A$60</c:f>
              <c:strCache>
                <c:ptCount val="6"/>
                <c:pt idx="0">
                  <c:v>July 22, 1:00pm</c:v>
                </c:pt>
                <c:pt idx="1">
                  <c:v>July 23, 5:00pm</c:v>
                </c:pt>
                <c:pt idx="2">
                  <c:v>July 29, 11:00am (Wind)</c:v>
                </c:pt>
                <c:pt idx="3">
                  <c:v>July 29, 5:30pm</c:v>
                </c:pt>
                <c:pt idx="4">
                  <c:v>July 30, 10:00am</c:v>
                </c:pt>
                <c:pt idx="5">
                  <c:v>August 1, 10:30am (wind)</c:v>
                </c:pt>
              </c:strCache>
            </c:strRef>
          </c:cat>
          <c:val>
            <c:numRef>
              <c:f>Sheet1!$B$55:$B$60</c:f>
              <c:numCache>
                <c:formatCode>General</c:formatCode>
                <c:ptCount val="6"/>
                <c:pt idx="0">
                  <c:v>-9</c:v>
                </c:pt>
                <c:pt idx="1">
                  <c:v>-7.5</c:v>
                </c:pt>
                <c:pt idx="2">
                  <c:v>-5.5</c:v>
                </c:pt>
                <c:pt idx="3">
                  <c:v>6</c:v>
                </c:pt>
                <c:pt idx="4">
                  <c:v>1.5</c:v>
                </c:pt>
                <c:pt idx="5">
                  <c:v>-11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61C-4F75-A499-D45EC1DC559F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06106784"/>
        <c:axId val="92315360"/>
      </c:lineChart>
      <c:catAx>
        <c:axId val="6061067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Day</a:t>
                </a:r>
                <a:r>
                  <a:rPr lang="en-US" baseline="0" dirty="0"/>
                  <a:t> &amp; Time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2315360"/>
        <c:crosses val="autoZero"/>
        <c:auto val="1"/>
        <c:lblAlgn val="ctr"/>
        <c:lblOffset val="100"/>
        <c:noMultiLvlLbl val="0"/>
      </c:catAx>
      <c:valAx>
        <c:axId val="923153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Irradiance</a:t>
                </a:r>
                <a:r>
                  <a:rPr lang="en-US" baseline="0" dirty="0"/>
                  <a:t> Difference (W/m</a:t>
                </a:r>
                <a:r>
                  <a:rPr lang="en-US" baseline="30000" dirty="0"/>
                  <a:t>2</a:t>
                </a:r>
                <a:r>
                  <a:rPr lang="en-US" baseline="0" dirty="0"/>
                  <a:t>)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106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65000"/>
          <a:lumOff val="3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4E2511B-9924-4978-B931-4A6350C6B1A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1C9171-58A9-4334-B844-CD0DF227C19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639EA9-2D35-49D2-BFC3-A01F405CEC98}" type="datetimeFigureOut">
              <a:rPr lang="en-US" smtClean="0"/>
              <a:t>8/13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9A9083-E3C6-4CFC-9963-CA72E66BA44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DAA04B-BB39-4A86-882E-0FA3A0922B8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E0C35A-4A8D-4394-BD6E-13809982FC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59804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216B53D-5669-4B18-A688-E808A34A047D}" type="datetimeFigureOut">
              <a:rPr lang="en-US" smtClean="0"/>
              <a:t>8/1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ACB7D3E-F2E7-45BE-BBB8-EBDFB6A63E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67140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455178-8E87-4873-953E-E2D2488573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CB7D3E-F2E7-45BE-BBB8-EBDFB6A63EC8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90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1127061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312734"/>
            <a:ext cx="68580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 descr="Flk_1_5_123_NB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8349" y="274032"/>
            <a:ext cx="2005651" cy="658390"/>
          </a:xfrm>
          <a:prstGeom prst="rect">
            <a:avLst/>
          </a:prstGeom>
        </p:spPr>
      </p:pic>
      <p:pic>
        <p:nvPicPr>
          <p:cNvPr id="8" name="Picture 7" descr="Flk_1_5_123_N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8349" y="274032"/>
            <a:ext cx="2005651" cy="658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8882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205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3506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nten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5458" y="1313561"/>
            <a:ext cx="8634222" cy="4351338"/>
          </a:xfr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90484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9144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-Header</a:t>
            </a:r>
          </a:p>
        </p:txBody>
      </p:sp>
    </p:spTree>
    <p:extLst>
      <p:ext uri="{BB962C8B-B14F-4D97-AF65-F5344CB8AC3E}">
        <p14:creationId xmlns:p14="http://schemas.microsoft.com/office/powerpoint/2010/main" val="11987765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271016"/>
            <a:ext cx="4114800" cy="4879720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280160"/>
            <a:ext cx="4114800" cy="4879720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9" name="Straight Connector 8"/>
          <p:cNvCxnSpPr>
            <a:endCxn id="8" idx="2"/>
          </p:cNvCxnSpPr>
          <p:nvPr userDrawn="1"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572000" y="1232027"/>
            <a:ext cx="0" cy="4975250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1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0" y="910195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2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</p:spTree>
    <p:extLst>
      <p:ext uri="{BB962C8B-B14F-4D97-AF65-F5344CB8AC3E}">
        <p14:creationId xmlns:p14="http://schemas.microsoft.com/office/powerpoint/2010/main" val="28453949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261872"/>
            <a:ext cx="4114800" cy="21762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271016"/>
            <a:ext cx="4114800" cy="21762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9" name="Straight Connector 8"/>
          <p:cNvCxnSpPr>
            <a:endCxn id="8" idx="2"/>
          </p:cNvCxnSpPr>
          <p:nvPr userDrawn="1"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572000" y="1232027"/>
            <a:ext cx="0" cy="4975250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1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590288" y="910195"/>
            <a:ext cx="4553712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2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348040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48880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3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3485755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4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8"/>
          </p:nvPr>
        </p:nvSpPr>
        <p:spPr>
          <a:xfrm>
            <a:off x="252984" y="3852544"/>
            <a:ext cx="4114800" cy="22190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19"/>
          </p:nvPr>
        </p:nvSpPr>
        <p:spPr>
          <a:xfrm>
            <a:off x="4824984" y="3861688"/>
            <a:ext cx="4114800" cy="22190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7792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kk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228599" y="1152335"/>
            <a:ext cx="8686800" cy="36391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28599" y="4882960"/>
            <a:ext cx="8686800" cy="1152525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2185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73903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261872"/>
            <a:ext cx="4114800" cy="21762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271016"/>
            <a:ext cx="4114800" cy="21762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9" name="Straight Connector 8"/>
          <p:cNvCxnSpPr>
            <a:endCxn id="8" idx="2"/>
          </p:cNvCxnSpPr>
          <p:nvPr userDrawn="1"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572000" y="1232533"/>
            <a:ext cx="0" cy="2320991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1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590288" y="910195"/>
            <a:ext cx="4553712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2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348040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12706" y="3500745"/>
            <a:ext cx="9088616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4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8"/>
          </p:nvPr>
        </p:nvSpPr>
        <p:spPr>
          <a:xfrm>
            <a:off x="252984" y="3852544"/>
            <a:ext cx="8662416" cy="22190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49066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8343" y="1608490"/>
            <a:ext cx="77724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8343" y="3268577"/>
            <a:ext cx="70866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1108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825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</p:spTree>
    <p:extLst>
      <p:ext uri="{BB962C8B-B14F-4D97-AF65-F5344CB8AC3E}">
        <p14:creationId xmlns:p14="http://schemas.microsoft.com/office/powerpoint/2010/main" val="41443493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8343" y="1200051"/>
            <a:ext cx="4217457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051"/>
            <a:ext cx="418918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1638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7250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1352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7712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2819" y="1206389"/>
            <a:ext cx="4234569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2819" y="1955725"/>
            <a:ext cx="4234569" cy="3951288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206389"/>
            <a:ext cx="4218738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955725"/>
            <a:ext cx="4218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62819" y="6553121"/>
            <a:ext cx="2133600" cy="30488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  <a:latin typeface="Calibri"/>
              <a:ea typeface="ＭＳ Ｐゴシック" pitchFamily="34" charset="-128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56903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7855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2818" y="1166224"/>
            <a:ext cx="8600949" cy="50404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610350"/>
            <a:ext cx="2133600" cy="2476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5711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56145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4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5" descr="topbanner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575"/>
            <a:ext cx="914400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bottombanner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4925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danaherlogo.wmf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203200"/>
            <a:ext cx="107315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4988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75249" y="1767240"/>
            <a:ext cx="3662139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75248" y="3427327"/>
            <a:ext cx="3662139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8343" y="6483346"/>
            <a:ext cx="7097745" cy="365125"/>
          </a:xfr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76146" y="6483346"/>
            <a:ext cx="1261242" cy="365125"/>
          </a:xfr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8765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t"/>
          <a:lstStyle>
            <a:lvl1pPr>
              <a:defRPr sz="4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7003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17947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53701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935702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0492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46428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999963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37761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12657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61374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545087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22821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Conten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5458" y="1313561"/>
            <a:ext cx="8634222" cy="4351338"/>
          </a:xfr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90484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9144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-Header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90484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560693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15878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09480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3541361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4"/>
          <p:cNvSpPr>
            <a:spLocks noGrp="1"/>
          </p:cNvSpPr>
          <p:nvPr>
            <p:ph sz="quarter" idx="10"/>
          </p:nvPr>
        </p:nvSpPr>
        <p:spPr>
          <a:xfrm>
            <a:off x="296863" y="1109663"/>
            <a:ext cx="8551862" cy="52403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51579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8343" y="1200051"/>
            <a:ext cx="4217457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051"/>
            <a:ext cx="418918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456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946517" y="6641535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51829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6149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77966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3394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946517" y="6641535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1268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271016"/>
            <a:ext cx="4114800" cy="4879720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280160"/>
            <a:ext cx="4114800" cy="4879720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9" name="Straight Connector 8"/>
          <p:cNvCxnSpPr>
            <a:endCxn id="8" idx="2"/>
          </p:cNvCxnSpPr>
          <p:nvPr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572000" y="1232027"/>
            <a:ext cx="0" cy="4975250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1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0" y="910195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2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18" name="Straight Connector 17"/>
          <p:cNvCxnSpPr>
            <a:endCxn id="8" idx="2"/>
          </p:cNvCxnSpPr>
          <p:nvPr userDrawn="1"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4572000" y="1232027"/>
            <a:ext cx="0" cy="4975250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442878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38411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2819" y="1206389"/>
            <a:ext cx="4234569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2819" y="1955725"/>
            <a:ext cx="4234569" cy="3951288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206389"/>
            <a:ext cx="4218738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955725"/>
            <a:ext cx="4218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62819" y="6553121"/>
            <a:ext cx="2133600" cy="30488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  <a:latin typeface="Calibri"/>
              <a:ea typeface="ＭＳ Ｐゴシック" pitchFamily="34" charset="-128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42947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4"/>
          <p:cNvSpPr>
            <a:spLocks noGrp="1"/>
          </p:cNvSpPr>
          <p:nvPr>
            <p:ph sz="quarter" idx="10"/>
          </p:nvPr>
        </p:nvSpPr>
        <p:spPr>
          <a:xfrm>
            <a:off x="296863" y="1109663"/>
            <a:ext cx="8551862" cy="52403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46957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8314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2818" y="1166224"/>
            <a:ext cx="8600949" cy="50404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610350"/>
            <a:ext cx="2133600" cy="2476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08858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753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2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5" descr="topbanner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575"/>
            <a:ext cx="914400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bottombanner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4925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danaherlogo.wmf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203200"/>
            <a:ext cx="107315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0102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75249" y="1767240"/>
            <a:ext cx="3662139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75248" y="3427327"/>
            <a:ext cx="3662139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8343" y="6483346"/>
            <a:ext cx="7097745" cy="365125"/>
          </a:xfr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76146" y="6483346"/>
            <a:ext cx="1261242" cy="365125"/>
          </a:xfr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34659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403540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863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3044427" y="887186"/>
            <a:ext cx="0" cy="36074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6087624" y="887186"/>
            <a:ext cx="0" cy="36074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044427" y="1222883"/>
            <a:ext cx="0" cy="497617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6087624" y="1222883"/>
            <a:ext cx="0" cy="5196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3044427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1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3028950" y="913243"/>
            <a:ext cx="3044427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2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6098958" y="913243"/>
            <a:ext cx="3044427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3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71016"/>
            <a:ext cx="2602282" cy="4879720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sz="half" idx="17"/>
          </p:nvPr>
        </p:nvSpPr>
        <p:spPr>
          <a:xfrm>
            <a:off x="3250022" y="1271016"/>
            <a:ext cx="2602282" cy="4879720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2"/>
          <p:cNvSpPr>
            <a:spLocks noGrp="1"/>
          </p:cNvSpPr>
          <p:nvPr>
            <p:ph sz="half" idx="18"/>
          </p:nvPr>
        </p:nvSpPr>
        <p:spPr>
          <a:xfrm>
            <a:off x="6314671" y="1271016"/>
            <a:ext cx="2602282" cy="4879720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7863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278343" y="6356350"/>
            <a:ext cx="7097745" cy="365125"/>
          </a:xfrm>
          <a:prstGeom prst="rect">
            <a:avLst/>
          </a:prstGeom>
          <a:ln/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19797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8343" y="1200051"/>
            <a:ext cx="4217457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051"/>
            <a:ext cx="418918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4090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36021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63936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571411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5967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92861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2819" y="1206389"/>
            <a:ext cx="4234569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2819" y="1955725"/>
            <a:ext cx="4234569" cy="3951288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206389"/>
            <a:ext cx="4218738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955725"/>
            <a:ext cx="4218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62819" y="6553121"/>
            <a:ext cx="2133600" cy="30488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  <a:latin typeface="Calibri"/>
              <a:ea typeface="ＭＳ Ｐゴシック" pitchFamily="34" charset="-128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95774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81651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2818" y="1166224"/>
            <a:ext cx="8600949" cy="50404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610350"/>
            <a:ext cx="2133600" cy="2476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840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261872"/>
            <a:ext cx="4114800" cy="21762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9" name="Straight Connector 8"/>
          <p:cNvCxnSpPr>
            <a:endCxn id="8" idx="2"/>
          </p:cNvCxnSpPr>
          <p:nvPr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572000" y="1232027"/>
            <a:ext cx="0" cy="4975250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1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590288" y="910195"/>
            <a:ext cx="4553712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2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15" name="Rectangle 14"/>
          <p:cNvSpPr/>
          <p:nvPr/>
        </p:nvSpPr>
        <p:spPr>
          <a:xfrm>
            <a:off x="0" y="348040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48880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3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3485755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lumn Sub-Header 4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8"/>
          </p:nvPr>
        </p:nvSpPr>
        <p:spPr>
          <a:xfrm>
            <a:off x="228600" y="3852544"/>
            <a:ext cx="4114800" cy="22190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"/>
          <p:cNvSpPr>
            <a:spLocks noGrp="1"/>
          </p:cNvSpPr>
          <p:nvPr>
            <p:ph sz="half" idx="19"/>
          </p:nvPr>
        </p:nvSpPr>
        <p:spPr>
          <a:xfrm>
            <a:off x="4795005" y="1261872"/>
            <a:ext cx="4114800" cy="21762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sz="half" idx="20"/>
          </p:nvPr>
        </p:nvSpPr>
        <p:spPr>
          <a:xfrm>
            <a:off x="4795005" y="3852544"/>
            <a:ext cx="4114800" cy="22190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24" name="Straight Connector 23"/>
          <p:cNvCxnSpPr>
            <a:endCxn id="8" idx="2"/>
          </p:cNvCxnSpPr>
          <p:nvPr userDrawn="1"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4572000" y="1232027"/>
            <a:ext cx="0" cy="4975250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 userDrawn="1"/>
        </p:nvSpPr>
        <p:spPr>
          <a:xfrm>
            <a:off x="0" y="348040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45014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2742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5" descr="topbanner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575"/>
            <a:ext cx="914400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bottombanner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4925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danaherlogo.wmf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203200"/>
            <a:ext cx="107315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098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75249" y="1767240"/>
            <a:ext cx="3662139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75248" y="3427327"/>
            <a:ext cx="3662139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8343" y="6483346"/>
            <a:ext cx="7097745" cy="365125"/>
          </a:xfr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76146" y="6483346"/>
            <a:ext cx="1261242" cy="365125"/>
          </a:xfr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4971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96144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766626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08932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56357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8442773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999963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180126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74452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kk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228599" y="1152335"/>
            <a:ext cx="8686800" cy="3639121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28599" y="4882960"/>
            <a:ext cx="8686800" cy="1152525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65754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657421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81771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317751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19775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750984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308710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4"/>
          <p:cNvSpPr>
            <a:spLocks noGrp="1"/>
          </p:cNvSpPr>
          <p:nvPr>
            <p:ph sz="quarter" idx="10"/>
          </p:nvPr>
        </p:nvSpPr>
        <p:spPr>
          <a:xfrm>
            <a:off x="296863" y="1109663"/>
            <a:ext cx="8551862" cy="52403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929731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946517" y="6641535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776832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 w/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133048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/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667751" y="6162675"/>
            <a:ext cx="419100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166"/>
            <a:fld id="{EA0624FB-0DB4-42D4-B815-DBB4B6F98D23}" type="slidenum">
              <a:rPr lang="en-US" sz="750" smtClean="0">
                <a:solidFill>
                  <a:prstClr val="white">
                    <a:lumMod val="65000"/>
                  </a:prstClr>
                </a:solidFill>
              </a:rPr>
              <a:pPr algn="r" defTabSz="457166"/>
              <a:t>‹#›</a:t>
            </a:fld>
            <a:endParaRPr lang="en-US" sz="750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1565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Takeaway</a:t>
            </a:r>
          </a:p>
        </p:txBody>
      </p:sp>
    </p:spTree>
    <p:extLst>
      <p:ext uri="{BB962C8B-B14F-4D97-AF65-F5344CB8AC3E}">
        <p14:creationId xmlns:p14="http://schemas.microsoft.com/office/powerpoint/2010/main" val="354215438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82530" y="199383"/>
            <a:ext cx="6311387" cy="60025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1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667751" y="6162675"/>
            <a:ext cx="419100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166"/>
            <a:fld id="{EA0624FB-0DB4-42D4-B815-DBB4B6F98D23}" type="slidenum">
              <a:rPr lang="en-US" sz="750" smtClean="0">
                <a:solidFill>
                  <a:prstClr val="white">
                    <a:lumMod val="65000"/>
                  </a:prstClr>
                </a:solidFill>
              </a:rPr>
              <a:pPr algn="r" defTabSz="457166"/>
              <a:t>‹#›</a:t>
            </a:fld>
            <a:endParaRPr lang="en-US" sz="75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1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52881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895601" y="199383"/>
            <a:ext cx="6124575" cy="600251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1800" b="1" cap="none" baseline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667751" y="6162675"/>
            <a:ext cx="419100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166"/>
            <a:fld id="{EA0624FB-0DB4-42D4-B815-DBB4B6F98D23}" type="slidenum">
              <a:rPr lang="en-US" sz="750" smtClean="0">
                <a:solidFill>
                  <a:prstClr val="white">
                    <a:lumMod val="65000"/>
                  </a:prstClr>
                </a:solidFill>
              </a:rPr>
              <a:pPr algn="r" defTabSz="457166"/>
              <a:t>‹#›</a:t>
            </a:fld>
            <a:endParaRPr lang="en-US" sz="750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8748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4613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819"/>
            <a:ext cx="4038600" cy="4525911"/>
          </a:xfrm>
          <a:prstGeom prst="rect">
            <a:avLst/>
          </a:prstGeo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819"/>
            <a:ext cx="4038600" cy="4525911"/>
          </a:xfrm>
          <a:prstGeom prst="rect">
            <a:avLst/>
          </a:prstGeo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021"/>
            <a:ext cx="2133600" cy="47625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25717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68763" y="6433210"/>
            <a:ext cx="3990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defTabSz="457166"/>
            <a:fld id="{3E0C6D86-AA7F-4012-AF6A-27A62F614BD1}" type="slidenum">
              <a:rPr lang="en-US" smtClean="0">
                <a:solidFill>
                  <a:prstClr val="black"/>
                </a:solidFill>
              </a:rPr>
              <a:pPr defTabSz="457166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61233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4613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68763" y="6433210"/>
            <a:ext cx="3990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defTabSz="457166"/>
            <a:fld id="{3E0C6D86-AA7F-4012-AF6A-27A62F614BD1}" type="slidenum">
              <a:rPr lang="en-US" smtClean="0">
                <a:solidFill>
                  <a:prstClr val="black"/>
                </a:solidFill>
              </a:rPr>
              <a:pPr defTabSz="457166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80869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Flk_Calibratio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6642" y="104468"/>
            <a:ext cx="1755775" cy="705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" y="255028"/>
            <a:ext cx="9067800" cy="62834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98097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8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92.xml"/><Relationship Id="rId15" Type="http://schemas.openxmlformats.org/officeDocument/2006/relationships/image" Target="../media/image12.png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91.xml"/><Relationship Id="rId9" Type="http://schemas.openxmlformats.org/officeDocument/2006/relationships/vmlDrawing" Target="../drawings/vmlDrawing4.vml"/><Relationship Id="rId14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5458" y="328551"/>
            <a:ext cx="7445502" cy="549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5458" y="1020953"/>
            <a:ext cx="863422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8610" y="6466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466079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67728" y="6466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951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7" r:id="rId12"/>
    <p:sldLayoutId id="2147483838" r:id="rId13"/>
    <p:sldLayoutId id="2147483839" r:id="rId14"/>
    <p:sldLayoutId id="2147483840" r:id="rId15"/>
    <p:sldLayoutId id="2147483842" r:id="rId16"/>
    <p:sldLayoutId id="2147483843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8343" y="6356350"/>
            <a:ext cx="7097745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 anchorCtr="0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76146" y="6356350"/>
            <a:ext cx="1261242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02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200" b="1" i="0" kern="1200">
          <a:solidFill>
            <a:schemeClr val="tx1"/>
          </a:solidFill>
          <a:latin typeface="Helvetica"/>
          <a:ea typeface="+mj-ea"/>
          <a:cs typeface="Helvetica"/>
        </a:defRPr>
      </a:lvl1pPr>
    </p:titleStyle>
    <p:bodyStyle>
      <a:lvl1pPr marL="225425" indent="-225425" algn="l" defTabSz="457200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Helvetica"/>
          <a:ea typeface="+mn-ea"/>
          <a:cs typeface="Helvetica"/>
        </a:defRPr>
      </a:lvl1pPr>
      <a:lvl2pPr marL="512763" indent="-287338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Helvetica"/>
          <a:ea typeface="+mn-ea"/>
          <a:cs typeface="Helvetica"/>
        </a:defRPr>
      </a:lvl2pPr>
      <a:lvl3pPr marL="687388" indent="-174625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Helvetica"/>
          <a:ea typeface="+mn-ea"/>
          <a:cs typeface="Helvetica"/>
        </a:defRPr>
      </a:lvl3pPr>
      <a:lvl4pPr marL="1087438" indent="-347663" algn="l" defTabSz="457200" rtl="0" eaLnBrk="1" latinLnBrk="0" hangingPunct="1">
        <a:spcBef>
          <a:spcPct val="20000"/>
        </a:spcBef>
        <a:buFont typeface="Arial"/>
        <a:buChar char="–"/>
        <a:tabLst/>
        <a:defRPr sz="1800" kern="1200">
          <a:solidFill>
            <a:schemeClr val="tx1"/>
          </a:solidFill>
          <a:latin typeface="Helvetica"/>
          <a:ea typeface="+mn-ea"/>
          <a:cs typeface="Helvetica"/>
        </a:defRPr>
      </a:lvl4pPr>
      <a:lvl5pPr marL="1312863" indent="-225425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Helvetica"/>
          <a:ea typeface="+mn-ea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8343" y="6480313"/>
            <a:ext cx="7097745" cy="24116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3583" y="6480313"/>
            <a:ext cx="1261242" cy="241162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pPr defTabSz="4572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6258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8" r:id="rId7"/>
    <p:sldLayoutId id="2147483952" r:id="rId8"/>
    <p:sldLayoutId id="2147483953" r:id="rId9"/>
    <p:sldLayoutId id="2147483954" r:id="rId10"/>
    <p:sldLayoutId id="2147483955" r:id="rId11"/>
    <p:sldLayoutId id="2147483957" r:id="rId12"/>
    <p:sldLayoutId id="2147483958" r:id="rId13"/>
    <p:sldLayoutId id="2147483959" r:id="rId14"/>
    <p:sldLayoutId id="2147483960" r:id="rId15"/>
    <p:sldLayoutId id="2147483961" r:id="rId16"/>
    <p:sldLayoutId id="2147483962" r:id="rId17"/>
    <p:sldLayoutId id="2147483964" r:id="rId18"/>
    <p:sldLayoutId id="2147483965" r:id="rId19"/>
    <p:sldLayoutId id="2147483968" r:id="rId20"/>
    <p:sldLayoutId id="2147483971" r:id="rId21"/>
    <p:sldLayoutId id="2147483974" r:id="rId22"/>
    <p:sldLayoutId id="2147483976" r:id="rId23"/>
    <p:sldLayoutId id="2147483977" r:id="rId2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+mj-lt"/>
          <a:ea typeface="+mj-ea"/>
          <a:cs typeface="Helvetica"/>
        </a:defRPr>
      </a:lvl1pPr>
    </p:titleStyle>
    <p:bodyStyle>
      <a:lvl1pPr marL="225425" indent="-225425" algn="l" defTabSz="457200" rtl="0" eaLnBrk="1" latinLnBrk="0" hangingPunct="1">
        <a:spcBef>
          <a:spcPct val="20000"/>
        </a:spcBef>
        <a:buFont typeface="Arial"/>
        <a:buChar char="•"/>
        <a:defRPr sz="1400" b="1" kern="1200">
          <a:solidFill>
            <a:schemeClr val="tx1"/>
          </a:solidFill>
          <a:latin typeface="+mj-lt"/>
          <a:ea typeface="+mn-ea"/>
          <a:cs typeface="Helvetica"/>
        </a:defRPr>
      </a:lvl1pPr>
      <a:lvl2pPr marL="512763" indent="-287338" algn="l" defTabSz="4572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+mj-lt"/>
          <a:ea typeface="+mn-ea"/>
          <a:cs typeface="Helvetica"/>
        </a:defRPr>
      </a:lvl2pPr>
      <a:lvl3pPr marL="687388" indent="-174625" algn="l" defTabSz="457200" rtl="0" eaLnBrk="1" latinLnBrk="0" hangingPunct="1">
        <a:spcBef>
          <a:spcPct val="20000"/>
        </a:spcBef>
        <a:buFont typeface="Arial"/>
        <a:buChar char="•"/>
        <a:defRPr sz="1100" kern="1200">
          <a:solidFill>
            <a:schemeClr val="tx1"/>
          </a:solidFill>
          <a:latin typeface="+mj-lt"/>
          <a:ea typeface="+mn-ea"/>
          <a:cs typeface="Helvetica"/>
        </a:defRPr>
      </a:lvl3pPr>
      <a:lvl4pPr marL="1087438" indent="-347663" algn="l" defTabSz="457200" rtl="0" eaLnBrk="1" latinLnBrk="0" hangingPunct="1">
        <a:spcBef>
          <a:spcPct val="20000"/>
        </a:spcBef>
        <a:buFont typeface="Arial"/>
        <a:buChar char="–"/>
        <a:tabLst/>
        <a:defRPr lang="en-US" sz="1000" kern="1200" dirty="0" smtClean="0">
          <a:solidFill>
            <a:schemeClr val="tx1"/>
          </a:solidFill>
          <a:latin typeface="+mj-lt"/>
          <a:ea typeface="+mn-ea"/>
          <a:cs typeface="Helvetica"/>
        </a:defRPr>
      </a:lvl4pPr>
      <a:lvl5pPr marL="1312863" indent="-225425" algn="l" defTabSz="457200" rtl="0" eaLnBrk="1" latinLnBrk="0" hangingPunct="1">
        <a:spcBef>
          <a:spcPct val="20000"/>
        </a:spcBef>
        <a:buFont typeface="Arial"/>
        <a:buChar char="»"/>
        <a:defRPr sz="800" kern="1200">
          <a:solidFill>
            <a:schemeClr val="tx1"/>
          </a:solidFill>
          <a:latin typeface="+mj-lt"/>
          <a:ea typeface="+mn-ea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8343" y="6480313"/>
            <a:ext cx="7097745" cy="24116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3583" y="6480313"/>
            <a:ext cx="1261242" cy="241162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pPr defTabSz="4572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08356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3" r:id="rId11"/>
    <p:sldLayoutId id="2147484057" r:id="rId12"/>
    <p:sldLayoutId id="2147484058" r:id="rId13"/>
    <p:sldLayoutId id="2147484059" r:id="rId14"/>
    <p:sldLayoutId id="2147484060" r:id="rId15"/>
    <p:sldLayoutId id="2147484061" r:id="rId16"/>
    <p:sldLayoutId id="2147484062" r:id="rId17"/>
    <p:sldLayoutId id="2147484064" r:id="rId18"/>
    <p:sldLayoutId id="2147484065" r:id="rId19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+mj-lt"/>
          <a:ea typeface="+mj-ea"/>
          <a:cs typeface="Helvetica"/>
        </a:defRPr>
      </a:lvl1pPr>
    </p:titleStyle>
    <p:bodyStyle>
      <a:lvl1pPr marL="225425" indent="-225425" algn="l" defTabSz="457200" rtl="0" eaLnBrk="1" latinLnBrk="0" hangingPunct="1">
        <a:spcBef>
          <a:spcPct val="20000"/>
        </a:spcBef>
        <a:buFont typeface="Arial"/>
        <a:buChar char="•"/>
        <a:defRPr sz="1400" b="1" kern="1200">
          <a:solidFill>
            <a:schemeClr val="tx1"/>
          </a:solidFill>
          <a:latin typeface="+mj-lt"/>
          <a:ea typeface="+mn-ea"/>
          <a:cs typeface="Helvetica"/>
        </a:defRPr>
      </a:lvl1pPr>
      <a:lvl2pPr marL="512763" indent="-287338" algn="l" defTabSz="4572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+mj-lt"/>
          <a:ea typeface="+mn-ea"/>
          <a:cs typeface="Helvetica"/>
        </a:defRPr>
      </a:lvl2pPr>
      <a:lvl3pPr marL="687388" indent="-174625" algn="l" defTabSz="457200" rtl="0" eaLnBrk="1" latinLnBrk="0" hangingPunct="1">
        <a:spcBef>
          <a:spcPct val="20000"/>
        </a:spcBef>
        <a:buFont typeface="Arial"/>
        <a:buChar char="•"/>
        <a:defRPr sz="1100" kern="1200">
          <a:solidFill>
            <a:schemeClr val="tx1"/>
          </a:solidFill>
          <a:latin typeface="+mj-lt"/>
          <a:ea typeface="+mn-ea"/>
          <a:cs typeface="Helvetica"/>
        </a:defRPr>
      </a:lvl3pPr>
      <a:lvl4pPr marL="1087438" indent="-347663" algn="l" defTabSz="457200" rtl="0" eaLnBrk="1" latinLnBrk="0" hangingPunct="1">
        <a:spcBef>
          <a:spcPct val="20000"/>
        </a:spcBef>
        <a:buFont typeface="Arial"/>
        <a:buChar char="–"/>
        <a:tabLst/>
        <a:defRPr lang="en-US" sz="1000" kern="1200" dirty="0" smtClean="0">
          <a:solidFill>
            <a:schemeClr val="tx1"/>
          </a:solidFill>
          <a:latin typeface="+mj-lt"/>
          <a:ea typeface="+mn-ea"/>
          <a:cs typeface="Helvetica"/>
        </a:defRPr>
      </a:lvl4pPr>
      <a:lvl5pPr marL="1312863" indent="-225425" algn="l" defTabSz="457200" rtl="0" eaLnBrk="1" latinLnBrk="0" hangingPunct="1">
        <a:spcBef>
          <a:spcPct val="20000"/>
        </a:spcBef>
        <a:buFont typeface="Arial"/>
        <a:buChar char="»"/>
        <a:defRPr sz="800" kern="1200">
          <a:solidFill>
            <a:schemeClr val="tx1"/>
          </a:solidFill>
          <a:latin typeface="+mj-lt"/>
          <a:ea typeface="+mn-ea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8343" y="6480313"/>
            <a:ext cx="7097745" cy="24116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3583" y="6480313"/>
            <a:ext cx="1261242" cy="241162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pPr defTabSz="4572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42843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0" r:id="rId1"/>
    <p:sldLayoutId id="2147484221" r:id="rId2"/>
    <p:sldLayoutId id="2147484222" r:id="rId3"/>
    <p:sldLayoutId id="2147484223" r:id="rId4"/>
    <p:sldLayoutId id="2147484224" r:id="rId5"/>
    <p:sldLayoutId id="2147484225" r:id="rId6"/>
    <p:sldLayoutId id="2147484227" r:id="rId7"/>
    <p:sldLayoutId id="2147484231" r:id="rId8"/>
    <p:sldLayoutId id="2147484232" r:id="rId9"/>
    <p:sldLayoutId id="2147484233" r:id="rId10"/>
    <p:sldLayoutId id="2147484234" r:id="rId11"/>
    <p:sldLayoutId id="2147484236" r:id="rId12"/>
    <p:sldLayoutId id="2147484237" r:id="rId13"/>
    <p:sldLayoutId id="2147484238" r:id="rId14"/>
    <p:sldLayoutId id="2147484239" r:id="rId15"/>
    <p:sldLayoutId id="2147484240" r:id="rId16"/>
    <p:sldLayoutId id="2147484241" r:id="rId17"/>
    <p:sldLayoutId id="2147484243" r:id="rId18"/>
    <p:sldLayoutId id="2147484244" r:id="rId19"/>
    <p:sldLayoutId id="2147484247" r:id="rId20"/>
    <p:sldLayoutId id="2147484250" r:id="rId21"/>
    <p:sldLayoutId id="2147484253" r:id="rId22"/>
    <p:sldLayoutId id="2147484256" r:id="rId2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+mj-lt"/>
          <a:ea typeface="+mj-ea"/>
          <a:cs typeface="Helvetica"/>
        </a:defRPr>
      </a:lvl1pPr>
    </p:titleStyle>
    <p:bodyStyle>
      <a:lvl1pPr marL="225425" indent="-225425" algn="l" defTabSz="457200" rtl="0" eaLnBrk="1" latinLnBrk="0" hangingPunct="1">
        <a:spcBef>
          <a:spcPct val="20000"/>
        </a:spcBef>
        <a:buFont typeface="Arial"/>
        <a:buChar char="•"/>
        <a:defRPr sz="1400" b="1" kern="1200">
          <a:solidFill>
            <a:schemeClr val="tx1"/>
          </a:solidFill>
          <a:latin typeface="+mj-lt"/>
          <a:ea typeface="+mn-ea"/>
          <a:cs typeface="Helvetica"/>
        </a:defRPr>
      </a:lvl1pPr>
      <a:lvl2pPr marL="512763" indent="-287338" algn="l" defTabSz="4572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+mj-lt"/>
          <a:ea typeface="+mn-ea"/>
          <a:cs typeface="Helvetica"/>
        </a:defRPr>
      </a:lvl2pPr>
      <a:lvl3pPr marL="687388" indent="-174625" algn="l" defTabSz="457200" rtl="0" eaLnBrk="1" latinLnBrk="0" hangingPunct="1">
        <a:spcBef>
          <a:spcPct val="20000"/>
        </a:spcBef>
        <a:buFont typeface="Arial"/>
        <a:buChar char="•"/>
        <a:defRPr sz="1100" kern="1200">
          <a:solidFill>
            <a:schemeClr val="tx1"/>
          </a:solidFill>
          <a:latin typeface="+mj-lt"/>
          <a:ea typeface="+mn-ea"/>
          <a:cs typeface="Helvetica"/>
        </a:defRPr>
      </a:lvl3pPr>
      <a:lvl4pPr marL="1087438" indent="-347663" algn="l" defTabSz="457200" rtl="0" eaLnBrk="1" latinLnBrk="0" hangingPunct="1">
        <a:spcBef>
          <a:spcPct val="20000"/>
        </a:spcBef>
        <a:buFont typeface="Arial"/>
        <a:buChar char="–"/>
        <a:tabLst/>
        <a:defRPr lang="en-US" sz="1000" kern="1200" dirty="0" smtClean="0">
          <a:solidFill>
            <a:schemeClr val="tx1"/>
          </a:solidFill>
          <a:latin typeface="+mj-lt"/>
          <a:ea typeface="+mn-ea"/>
          <a:cs typeface="Helvetica"/>
        </a:defRPr>
      </a:lvl4pPr>
      <a:lvl5pPr marL="1312863" indent="-225425" algn="l" defTabSz="457200" rtl="0" eaLnBrk="1" latinLnBrk="0" hangingPunct="1">
        <a:spcBef>
          <a:spcPct val="20000"/>
        </a:spcBef>
        <a:buFont typeface="Arial"/>
        <a:buChar char="»"/>
        <a:defRPr sz="800" kern="1200">
          <a:solidFill>
            <a:schemeClr val="tx1"/>
          </a:solidFill>
          <a:latin typeface="+mj-lt"/>
          <a:ea typeface="+mn-ea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9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8" descr="bottombanner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84927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272" name="Picture 2072"/>
          <p:cNvPicPr>
            <a:picLocks noChangeAspect="1" noChangeArrowheads="1"/>
          </p:cNvPicPr>
          <p:nvPr userDrawn="1"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559" y="197334"/>
            <a:ext cx="2257133" cy="490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0" y="921279"/>
            <a:ext cx="9144000" cy="0"/>
          </a:xfrm>
          <a:prstGeom prst="line">
            <a:avLst/>
          </a:prstGeom>
          <a:ln w="6350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6850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1" r:id="rId1"/>
    <p:sldLayoutId id="2147484492" r:id="rId2"/>
    <p:sldLayoutId id="2147484493" r:id="rId3"/>
    <p:sldLayoutId id="2147484494" r:id="rId4"/>
    <p:sldLayoutId id="2147484496" r:id="rId5"/>
    <p:sldLayoutId id="2147484497" r:id="rId6"/>
    <p:sldLayoutId id="2147484498" r:id="rId7"/>
  </p:sldLayoutIdLst>
  <p:hf hdr="0" ftr="0" dt="0"/>
  <p:txStyles>
    <p:titleStyle>
      <a:lvl1pPr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 kern="1200">
          <a:solidFill>
            <a:srgbClr val="004487"/>
          </a:solidFill>
          <a:latin typeface="+mj-lt"/>
          <a:ea typeface="ＭＳ Ｐゴシック" charset="-128"/>
          <a:cs typeface="ＭＳ Ｐゴシック" charset="-128"/>
        </a:defRPr>
      </a:lvl1pPr>
      <a:lvl2pPr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2pPr>
      <a:lvl3pPr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3pPr>
      <a:lvl4pPr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4pPr>
      <a:lvl5pPr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5pPr>
      <a:lvl6pPr marL="342860"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6pPr>
      <a:lvl7pPr marL="685720"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7pPr>
      <a:lvl8pPr marL="1028580"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8pPr>
      <a:lvl9pPr marL="1371440"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191669" indent="-122621" algn="l" defTabSz="342860" rtl="0" eaLnBrk="1" fontAlgn="base" hangingPunct="1">
        <a:spcBef>
          <a:spcPct val="20000"/>
        </a:spcBef>
        <a:spcAft>
          <a:spcPct val="0"/>
        </a:spcAft>
        <a:buSzPct val="100000"/>
        <a:buBlip>
          <a:blip r:embed="rId15"/>
        </a:buBlip>
        <a:defRPr sz="1500" b="1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417861" indent="-142859" algn="l" defTabSz="342860" rtl="0" eaLnBrk="1" fontAlgn="base" hangingPunct="1">
        <a:spcBef>
          <a:spcPct val="20000"/>
        </a:spcBef>
        <a:spcAft>
          <a:spcPct val="0"/>
        </a:spcAft>
        <a:buSzPct val="116000"/>
        <a:buBlip>
          <a:blip r:embed="rId15"/>
        </a:buBlip>
        <a:defRPr b="1" kern="1200">
          <a:solidFill>
            <a:srgbClr val="404040"/>
          </a:solidFill>
          <a:latin typeface="+mn-lt"/>
          <a:ea typeface="ＭＳ Ｐゴシック" charset="-128"/>
          <a:cs typeface="+mn-cs"/>
        </a:defRPr>
      </a:lvl2pPr>
      <a:lvl3pPr marL="651196" indent="-102382" algn="l" defTabSz="342860" rtl="0" eaLnBrk="1" fontAlgn="base" hangingPunct="1">
        <a:spcBef>
          <a:spcPct val="20000"/>
        </a:spcBef>
        <a:spcAft>
          <a:spcPct val="0"/>
        </a:spcAft>
        <a:buSzPct val="100000"/>
        <a:buBlip>
          <a:blip r:embed="rId15"/>
        </a:buBlip>
        <a:defRPr b="1" kern="1200">
          <a:solidFill>
            <a:srgbClr val="404040"/>
          </a:solidFill>
          <a:latin typeface="+mn-lt"/>
          <a:ea typeface="ＭＳ Ｐゴシック" charset="-128"/>
          <a:cs typeface="+mn-cs"/>
        </a:defRPr>
      </a:lvl3pPr>
      <a:lvl4pPr marL="857150" indent="-102382" algn="l" defTabSz="342860" rtl="0" eaLnBrk="1" fontAlgn="base" hangingPunct="1">
        <a:spcBef>
          <a:spcPct val="20000"/>
        </a:spcBef>
        <a:spcAft>
          <a:spcPct val="0"/>
        </a:spcAft>
        <a:buSzPct val="100000"/>
        <a:buBlip>
          <a:blip r:embed="rId15"/>
        </a:buBlip>
        <a:defRPr b="1" kern="1200">
          <a:solidFill>
            <a:srgbClr val="404040"/>
          </a:solidFill>
          <a:latin typeface="+mn-lt"/>
          <a:ea typeface="ＭＳ Ｐゴシック" charset="-128"/>
          <a:cs typeface="+mn-cs"/>
        </a:defRPr>
      </a:lvl4pPr>
      <a:lvl5pPr marL="1061914" indent="-102382" algn="l" defTabSz="342860" rtl="0" eaLnBrk="1" fontAlgn="base" hangingPunct="1">
        <a:spcBef>
          <a:spcPct val="20000"/>
        </a:spcBef>
        <a:spcAft>
          <a:spcPct val="0"/>
        </a:spcAft>
        <a:buSzPct val="100000"/>
        <a:buBlip>
          <a:blip r:embed="rId15"/>
        </a:buBlip>
        <a:defRPr b="1" kern="1200">
          <a:solidFill>
            <a:srgbClr val="404040"/>
          </a:solidFill>
          <a:latin typeface="+mn-lt"/>
          <a:ea typeface="ＭＳ Ｐゴシック" charset="-128"/>
          <a:cs typeface="+mn-cs"/>
        </a:defRPr>
      </a:lvl5pPr>
      <a:lvl6pPr marL="1885730" indent="-171430" algn="l" defTabSz="34286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90" indent="-171430" algn="l" defTabSz="34286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49" indent="-171430" algn="l" defTabSz="34286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10" indent="-171430" algn="l" defTabSz="34286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2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8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4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0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59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2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79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5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42.png"/><Relationship Id="rId4" Type="http://schemas.openxmlformats.org/officeDocument/2006/relationships/image" Target="../media/image41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07547" y="1608490"/>
            <a:ext cx="4283040" cy="1470025"/>
          </a:xfrm>
        </p:spPr>
        <p:txBody>
          <a:bodyPr>
            <a:normAutofit/>
          </a:bodyPr>
          <a:lstStyle/>
          <a:p>
            <a:r>
              <a:rPr lang="en-US" sz="3200" dirty="0"/>
              <a:t>Irradiance Met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07547" y="3268577"/>
            <a:ext cx="4283040" cy="1752600"/>
          </a:xfrm>
        </p:spPr>
        <p:txBody>
          <a:bodyPr>
            <a:normAutofit fontScale="92500" lnSpcReduction="20000"/>
          </a:bodyPr>
          <a:lstStyle/>
          <a:p>
            <a:r>
              <a:rPr lang="en-US" sz="2400" dirty="0"/>
              <a:t>Alex Polyanskiy</a:t>
            </a:r>
          </a:p>
          <a:p>
            <a:endParaRPr lang="en-US" sz="2400" dirty="0"/>
          </a:p>
          <a:p>
            <a:r>
              <a:rPr lang="en-US" sz="2400" dirty="0"/>
              <a:t>Montana State University</a:t>
            </a:r>
          </a:p>
          <a:p>
            <a:endParaRPr lang="en-US" sz="2400" dirty="0"/>
          </a:p>
          <a:p>
            <a:r>
              <a:rPr lang="en-US" sz="2400" dirty="0"/>
              <a:t>Bozeman, M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7240BD-E4F3-45D6-BFAC-E655456912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0355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7246EB-61E5-4EB6-937C-818832448A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al Overview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EFB880-2F88-4548-AA6B-2AE056327D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764" y="1251805"/>
            <a:ext cx="8508471" cy="506107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F012961-85E2-4627-B27C-13BC56BF76AA}"/>
              </a:ext>
            </a:extLst>
          </p:cNvPr>
          <p:cNvSpPr txBox="1"/>
          <p:nvPr/>
        </p:nvSpPr>
        <p:spPr>
          <a:xfrm>
            <a:off x="8493369" y="6548358"/>
            <a:ext cx="6506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5716934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6590D-AF4A-40E7-94AF-9045372FF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Desig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DF0B6CA-6688-48C6-ABAA-1C3A699B28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719" y="941822"/>
            <a:ext cx="8298562" cy="577550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BE6B1D5-1544-4D15-B8B3-9997159F93DE}"/>
              </a:ext>
            </a:extLst>
          </p:cNvPr>
          <p:cNvSpPr txBox="1"/>
          <p:nvPr/>
        </p:nvSpPr>
        <p:spPr>
          <a:xfrm>
            <a:off x="8534444" y="6440324"/>
            <a:ext cx="3736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424230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5A7D61-C125-420C-9EF4-4F510CBFD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458" y="328551"/>
            <a:ext cx="7445502" cy="549274"/>
          </a:xfrm>
        </p:spPr>
        <p:txBody>
          <a:bodyPr/>
          <a:lstStyle/>
          <a:p>
            <a:r>
              <a:rPr lang="en-US" dirty="0"/>
              <a:t>First Design</a:t>
            </a:r>
          </a:p>
        </p:txBody>
      </p:sp>
      <p:pic>
        <p:nvPicPr>
          <p:cNvPr id="76802" name="Picture 2" descr="463375144173500471633452">
            <a:extLst>
              <a:ext uri="{FF2B5EF4-FFF2-40B4-BE49-F238E27FC236}">
                <a16:creationId xmlns:a16="http://schemas.microsoft.com/office/drawing/2014/main" id="{EEBC88B7-C761-4CF8-A017-00B3D1C823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9" t="9699" r="8396" b="4628"/>
          <a:stretch/>
        </p:blipFill>
        <p:spPr bwMode="auto">
          <a:xfrm>
            <a:off x="2670928" y="3626236"/>
            <a:ext cx="3991708" cy="3023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5F0B3F-EB76-48E3-89E7-48C787D934A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0782" y="976992"/>
            <a:ext cx="4572000" cy="254988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55606FD-64E1-4657-84E6-036592422AA7}"/>
              </a:ext>
            </a:extLst>
          </p:cNvPr>
          <p:cNvSpPr txBox="1"/>
          <p:nvPr/>
        </p:nvSpPr>
        <p:spPr>
          <a:xfrm>
            <a:off x="745258" y="5623809"/>
            <a:ext cx="18112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Microcontroll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8B887A-44E6-4412-8E25-7566CE69C3C6}"/>
              </a:ext>
            </a:extLst>
          </p:cNvPr>
          <p:cNvSpPr txBox="1"/>
          <p:nvPr/>
        </p:nvSpPr>
        <p:spPr>
          <a:xfrm>
            <a:off x="5564082" y="4079048"/>
            <a:ext cx="12836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Solar Cel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38A7FC-F2EA-4301-919E-D158AD7D00A2}"/>
              </a:ext>
            </a:extLst>
          </p:cNvPr>
          <p:cNvSpPr txBox="1"/>
          <p:nvPr/>
        </p:nvSpPr>
        <p:spPr>
          <a:xfrm>
            <a:off x="5807450" y="6307955"/>
            <a:ext cx="14226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Inclinomet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E5883E-B701-464C-84EA-745CE8812F87}"/>
              </a:ext>
            </a:extLst>
          </p:cNvPr>
          <p:cNvSpPr txBox="1"/>
          <p:nvPr/>
        </p:nvSpPr>
        <p:spPr>
          <a:xfrm>
            <a:off x="366222" y="5138283"/>
            <a:ext cx="21902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Temperature Senso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B5DC92-5767-4FAF-853C-7E28D8A7541B}"/>
              </a:ext>
            </a:extLst>
          </p:cNvPr>
          <p:cNvSpPr txBox="1"/>
          <p:nvPr/>
        </p:nvSpPr>
        <p:spPr>
          <a:xfrm>
            <a:off x="3780914" y="6388182"/>
            <a:ext cx="7708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LCD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B5F6082-41F1-4C3E-A87D-5D0F9D574B74}"/>
              </a:ext>
            </a:extLst>
          </p:cNvPr>
          <p:cNvSpPr/>
          <p:nvPr/>
        </p:nvSpPr>
        <p:spPr>
          <a:xfrm>
            <a:off x="4166348" y="4309453"/>
            <a:ext cx="844061" cy="567637"/>
          </a:xfrm>
          <a:prstGeom prst="ellipse">
            <a:avLst/>
          </a:prstGeom>
          <a:noFill/>
          <a:ln w="28575">
            <a:solidFill>
              <a:srgbClr val="FFC3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5D9215A-877D-4D08-8721-B967E8FFD326}"/>
              </a:ext>
            </a:extLst>
          </p:cNvPr>
          <p:cNvCxnSpPr>
            <a:stCxn id="11" idx="3"/>
          </p:cNvCxnSpPr>
          <p:nvPr/>
        </p:nvCxnSpPr>
        <p:spPr>
          <a:xfrm flipV="1">
            <a:off x="2556474" y="4712677"/>
            <a:ext cx="1609874" cy="594883"/>
          </a:xfrm>
          <a:prstGeom prst="straightConnector1">
            <a:avLst/>
          </a:prstGeom>
          <a:ln w="38100">
            <a:solidFill>
              <a:srgbClr val="FFC31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0211F7D-30EB-4A7D-828C-4E1D710B8715}"/>
              </a:ext>
            </a:extLst>
          </p:cNvPr>
          <p:cNvCxnSpPr>
            <a:stCxn id="8" idx="3"/>
          </p:cNvCxnSpPr>
          <p:nvPr/>
        </p:nvCxnSpPr>
        <p:spPr>
          <a:xfrm flipV="1">
            <a:off x="2556474" y="5710784"/>
            <a:ext cx="1452819" cy="82302"/>
          </a:xfrm>
          <a:prstGeom prst="straightConnector1">
            <a:avLst/>
          </a:prstGeom>
          <a:ln w="38100">
            <a:solidFill>
              <a:srgbClr val="FFC31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90B8EB3-E633-46DA-98CF-2F3376F6889D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4551781" y="6307955"/>
            <a:ext cx="458628" cy="249504"/>
          </a:xfrm>
          <a:prstGeom prst="straightConnector1">
            <a:avLst/>
          </a:prstGeom>
          <a:ln w="38100">
            <a:solidFill>
              <a:srgbClr val="FFC31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A584171-F808-43D0-B860-CD97F790DAEF}"/>
              </a:ext>
            </a:extLst>
          </p:cNvPr>
          <p:cNvCxnSpPr>
            <a:cxnSpLocks/>
            <a:stCxn id="10" idx="1"/>
          </p:cNvCxnSpPr>
          <p:nvPr/>
        </p:nvCxnSpPr>
        <p:spPr>
          <a:xfrm flipH="1" flipV="1">
            <a:off x="5781276" y="5710784"/>
            <a:ext cx="26174" cy="766448"/>
          </a:xfrm>
          <a:prstGeom prst="straightConnector1">
            <a:avLst/>
          </a:prstGeom>
          <a:ln w="38100">
            <a:solidFill>
              <a:srgbClr val="FFC31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05F52182-FFFC-4FBB-984C-44E46C0FCFC9}"/>
              </a:ext>
            </a:extLst>
          </p:cNvPr>
          <p:cNvCxnSpPr>
            <a:stCxn id="9" idx="1"/>
          </p:cNvCxnSpPr>
          <p:nvPr/>
        </p:nvCxnSpPr>
        <p:spPr>
          <a:xfrm flipH="1">
            <a:off x="5380893" y="4248325"/>
            <a:ext cx="183189" cy="169277"/>
          </a:xfrm>
          <a:prstGeom prst="straightConnector1">
            <a:avLst/>
          </a:prstGeom>
          <a:ln w="38100">
            <a:solidFill>
              <a:srgbClr val="FFC31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E40BCBA1-3925-462E-87CA-A04FEA720903}"/>
              </a:ext>
            </a:extLst>
          </p:cNvPr>
          <p:cNvSpPr/>
          <p:nvPr/>
        </p:nvSpPr>
        <p:spPr>
          <a:xfrm>
            <a:off x="4781095" y="1669972"/>
            <a:ext cx="562708" cy="436909"/>
          </a:xfrm>
          <a:prstGeom prst="ellipse">
            <a:avLst/>
          </a:prstGeom>
          <a:noFill/>
          <a:ln w="38100">
            <a:solidFill>
              <a:srgbClr val="FFC3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8E243FE2-FE5E-470E-956B-8E7DB3950D25}"/>
              </a:ext>
            </a:extLst>
          </p:cNvPr>
          <p:cNvCxnSpPr>
            <a:stCxn id="11" idx="3"/>
            <a:endCxn id="26" idx="3"/>
          </p:cNvCxnSpPr>
          <p:nvPr/>
        </p:nvCxnSpPr>
        <p:spPr>
          <a:xfrm flipV="1">
            <a:off x="2556474" y="2042897"/>
            <a:ext cx="2307028" cy="3264663"/>
          </a:xfrm>
          <a:prstGeom prst="straightConnector1">
            <a:avLst/>
          </a:prstGeom>
          <a:ln w="38100">
            <a:solidFill>
              <a:srgbClr val="FFC31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804" name="Picture 4" descr="Image result for kicad logo">
            <a:extLst>
              <a:ext uri="{FF2B5EF4-FFF2-40B4-BE49-F238E27FC236}">
                <a16:creationId xmlns:a16="http://schemas.microsoft.com/office/drawing/2014/main" id="{8B5EE02D-E3EC-4E1F-9BF8-65564CE914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6395" y="1150385"/>
            <a:ext cx="1805912" cy="738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8A93134A-3BA5-4FAD-B46F-BCAF93C149E8}"/>
              </a:ext>
            </a:extLst>
          </p:cNvPr>
          <p:cNvCxnSpPr>
            <a:stCxn id="9" idx="0"/>
          </p:cNvCxnSpPr>
          <p:nvPr/>
        </p:nvCxnSpPr>
        <p:spPr>
          <a:xfrm flipV="1">
            <a:off x="6205921" y="2479431"/>
            <a:ext cx="159710" cy="159961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A9D8FD0F-A408-47C3-B31A-83B2A1D513DB}"/>
              </a:ext>
            </a:extLst>
          </p:cNvPr>
          <p:cNvSpPr txBox="1"/>
          <p:nvPr/>
        </p:nvSpPr>
        <p:spPr>
          <a:xfrm>
            <a:off x="8331156" y="6508009"/>
            <a:ext cx="424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36608681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6425DC-3755-46A5-BEB4-DD3B5BDBFB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ices on the Market</a:t>
            </a:r>
          </a:p>
        </p:txBody>
      </p:sp>
      <p:pic>
        <p:nvPicPr>
          <p:cNvPr id="75778" name="Picture 2" descr="Image result for solmetric solsensor">
            <a:extLst>
              <a:ext uri="{FF2B5EF4-FFF2-40B4-BE49-F238E27FC236}">
                <a16:creationId xmlns:a16="http://schemas.microsoft.com/office/drawing/2014/main" id="{143CA283-6AF3-42BD-AB71-18B8525E7F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682" y="2240718"/>
            <a:ext cx="4166088" cy="3816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780" name="Picture 4" descr="Image result for seaward solar">
            <a:extLst>
              <a:ext uri="{FF2B5EF4-FFF2-40B4-BE49-F238E27FC236}">
                <a16:creationId xmlns:a16="http://schemas.microsoft.com/office/drawing/2014/main" id="{24A5E16B-F209-45EE-9220-8A6B043697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4901" y="2658763"/>
            <a:ext cx="1685190" cy="3120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4495B10-2FD3-4CB6-9897-887C2DCE939A}"/>
              </a:ext>
            </a:extLst>
          </p:cNvPr>
          <p:cNvSpPr txBox="1"/>
          <p:nvPr/>
        </p:nvSpPr>
        <p:spPr>
          <a:xfrm>
            <a:off x="1072661" y="1426222"/>
            <a:ext cx="27256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u="sng" dirty="0"/>
              <a:t>Solmetric SolSensor</a:t>
            </a:r>
          </a:p>
          <a:p>
            <a:pPr algn="ctr"/>
            <a:r>
              <a:rPr lang="en-US" sz="2000" dirty="0"/>
              <a:t>(photodiod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5898E86-FF92-4C80-9EEE-D52637567F27}"/>
              </a:ext>
            </a:extLst>
          </p:cNvPr>
          <p:cNvSpPr txBox="1"/>
          <p:nvPr/>
        </p:nvSpPr>
        <p:spPr>
          <a:xfrm>
            <a:off x="5251354" y="1426222"/>
            <a:ext cx="33322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u="sng" dirty="0"/>
              <a:t>Seaward Solar Survey200R</a:t>
            </a:r>
          </a:p>
          <a:p>
            <a:pPr algn="ctr"/>
            <a:r>
              <a:rPr lang="en-US" sz="2000" dirty="0"/>
              <a:t>(reference cell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37FA1DD-0CB9-49F6-BAAC-CAC6FA5A2F90}"/>
              </a:ext>
            </a:extLst>
          </p:cNvPr>
          <p:cNvSpPr txBox="1"/>
          <p:nvPr/>
        </p:nvSpPr>
        <p:spPr>
          <a:xfrm>
            <a:off x="8478130" y="6452509"/>
            <a:ext cx="4900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8513252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23A55-1F8A-4375-BCF3-16ACAD8CBC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D74D92-AA1F-4527-8EA8-9BF816F43D61}"/>
              </a:ext>
            </a:extLst>
          </p:cNvPr>
          <p:cNvSpPr txBox="1"/>
          <p:nvPr/>
        </p:nvSpPr>
        <p:spPr>
          <a:xfrm>
            <a:off x="8343899" y="6534618"/>
            <a:ext cx="3780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4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07644B0-5020-4DC8-A657-08690365A2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8849035"/>
              </p:ext>
            </p:extLst>
          </p:nvPr>
        </p:nvGraphicFramePr>
        <p:xfrm>
          <a:off x="803793" y="921543"/>
          <a:ext cx="7536413" cy="56079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774505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E900E5-4340-4A05-BC9E-D83125AE5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surement Comparison (average of 6.8 W/m</a:t>
            </a:r>
            <a:r>
              <a:rPr lang="en-US" baseline="30000" dirty="0"/>
              <a:t>2</a:t>
            </a:r>
            <a:r>
              <a:rPr lang="en-US" dirty="0"/>
              <a:t>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E7593995-8764-4DBF-A9CD-F9F1A05A51E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9026007"/>
              </p:ext>
            </p:extLst>
          </p:nvPr>
        </p:nvGraphicFramePr>
        <p:xfrm>
          <a:off x="692073" y="1063869"/>
          <a:ext cx="7759853" cy="53808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9D963C2-A21E-4C87-AA93-82E99EF6CBD6}"/>
              </a:ext>
            </a:extLst>
          </p:cNvPr>
          <p:cNvSpPr txBox="1"/>
          <p:nvPr/>
        </p:nvSpPr>
        <p:spPr>
          <a:xfrm>
            <a:off x="8554915" y="6444762"/>
            <a:ext cx="45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20456403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819F5D-9A34-4A35-AD98-B132F6F43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ond Desig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178776-CDF7-445C-BF8B-73DFEBB002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577" y="1025827"/>
            <a:ext cx="8176845" cy="564451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F96DCAC-66DE-49CF-BA24-B8C45A29D7F8}"/>
              </a:ext>
            </a:extLst>
          </p:cNvPr>
          <p:cNvSpPr txBox="1"/>
          <p:nvPr/>
        </p:nvSpPr>
        <p:spPr>
          <a:xfrm>
            <a:off x="8598876" y="6531846"/>
            <a:ext cx="483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6</a:t>
            </a:r>
          </a:p>
        </p:txBody>
      </p:sp>
    </p:spTree>
    <p:extLst>
      <p:ext uri="{BB962C8B-B14F-4D97-AF65-F5344CB8AC3E}">
        <p14:creationId xmlns:p14="http://schemas.microsoft.com/office/powerpoint/2010/main" val="32824751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F72720-B26B-4824-97C0-22B127AA9C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ond Desig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60FF970-A3CD-4C3D-B45C-2935835F881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124798" y="2778310"/>
            <a:ext cx="5379604" cy="21226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F766B70-DF6E-42DE-8BF1-51A8FC01EF05}"/>
              </a:ext>
            </a:extLst>
          </p:cNvPr>
          <p:cNvSpPr txBox="1"/>
          <p:nvPr/>
        </p:nvSpPr>
        <p:spPr>
          <a:xfrm>
            <a:off x="1960210" y="3028978"/>
            <a:ext cx="674099" cy="3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DC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ADD852-CC6B-4D57-AC58-E60E51192C98}"/>
              </a:ext>
            </a:extLst>
          </p:cNvPr>
          <p:cNvSpPr txBox="1"/>
          <p:nvPr/>
        </p:nvSpPr>
        <p:spPr>
          <a:xfrm>
            <a:off x="714644" y="3398255"/>
            <a:ext cx="15826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lar Cel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1127598-907A-425E-A01B-79176037EC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785" y="3798332"/>
            <a:ext cx="5785338" cy="279935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AFA0965-3AC7-4E60-A4E6-A18D52F10EEF}"/>
              </a:ext>
            </a:extLst>
          </p:cNvPr>
          <p:cNvSpPr txBox="1"/>
          <p:nvPr/>
        </p:nvSpPr>
        <p:spPr>
          <a:xfrm>
            <a:off x="2423011" y="3376302"/>
            <a:ext cx="1204547" cy="3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luetoot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EF255B-975C-483A-98B6-89DA3561E3ED}"/>
              </a:ext>
            </a:extLst>
          </p:cNvPr>
          <p:cNvSpPr txBox="1"/>
          <p:nvPr/>
        </p:nvSpPr>
        <p:spPr>
          <a:xfrm>
            <a:off x="3627558" y="3024555"/>
            <a:ext cx="11074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utt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175D5AD-2D85-4C4A-9126-2ED394F68932}"/>
              </a:ext>
            </a:extLst>
          </p:cNvPr>
          <p:cNvSpPr txBox="1"/>
          <p:nvPr/>
        </p:nvSpPr>
        <p:spPr>
          <a:xfrm>
            <a:off x="1244779" y="6055859"/>
            <a:ext cx="2122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unting Ho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8B1304C-3E59-4805-B4C1-3BEE1E57E258}"/>
              </a:ext>
            </a:extLst>
          </p:cNvPr>
          <p:cNvSpPr txBox="1"/>
          <p:nvPr/>
        </p:nvSpPr>
        <p:spPr>
          <a:xfrm>
            <a:off x="4374366" y="3376247"/>
            <a:ext cx="1707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rmocouple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1667419-485A-471F-8EBF-D1BB12B62868}"/>
              </a:ext>
            </a:extLst>
          </p:cNvPr>
          <p:cNvCxnSpPr>
            <a:stCxn id="9" idx="2"/>
          </p:cNvCxnSpPr>
          <p:nvPr/>
        </p:nvCxnSpPr>
        <p:spPr>
          <a:xfrm>
            <a:off x="1505952" y="3767587"/>
            <a:ext cx="0" cy="89233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9F3E619-4AAF-415B-A6CA-113C9E6F5554}"/>
              </a:ext>
            </a:extLst>
          </p:cNvPr>
          <p:cNvCxnSpPr>
            <a:stCxn id="8" idx="2"/>
          </p:cNvCxnSpPr>
          <p:nvPr/>
        </p:nvCxnSpPr>
        <p:spPr>
          <a:xfrm>
            <a:off x="2297260" y="3398255"/>
            <a:ext cx="234925" cy="105944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7843AF12-F7EF-4253-A360-20169586939F}"/>
              </a:ext>
            </a:extLst>
          </p:cNvPr>
          <p:cNvCxnSpPr>
            <a:stCxn id="12" idx="2"/>
          </p:cNvCxnSpPr>
          <p:nvPr/>
        </p:nvCxnSpPr>
        <p:spPr>
          <a:xfrm>
            <a:off x="3025285" y="3745579"/>
            <a:ext cx="102163" cy="91434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F54EFCD3-C4B1-4E87-8A82-F511D78B4895}"/>
              </a:ext>
            </a:extLst>
          </p:cNvPr>
          <p:cNvCxnSpPr>
            <a:stCxn id="13" idx="2"/>
          </p:cNvCxnSpPr>
          <p:nvPr/>
        </p:nvCxnSpPr>
        <p:spPr>
          <a:xfrm>
            <a:off x="4181281" y="3393887"/>
            <a:ext cx="0" cy="225752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6168136-9291-4272-95F5-67CA072D6C01}"/>
              </a:ext>
            </a:extLst>
          </p:cNvPr>
          <p:cNvCxnSpPr>
            <a:stCxn id="13" idx="2"/>
          </p:cNvCxnSpPr>
          <p:nvPr/>
        </p:nvCxnSpPr>
        <p:spPr>
          <a:xfrm>
            <a:off x="4181281" y="3393887"/>
            <a:ext cx="74196" cy="199579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559D713A-DF60-421C-9BCF-0B80976492FE}"/>
              </a:ext>
            </a:extLst>
          </p:cNvPr>
          <p:cNvCxnSpPr>
            <a:stCxn id="13" idx="2"/>
          </p:cNvCxnSpPr>
          <p:nvPr/>
        </p:nvCxnSpPr>
        <p:spPr>
          <a:xfrm>
            <a:off x="4181281" y="3393887"/>
            <a:ext cx="193085" cy="167927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D2419C2-CF17-4356-A9AE-A3918289BED8}"/>
              </a:ext>
            </a:extLst>
          </p:cNvPr>
          <p:cNvCxnSpPr>
            <a:stCxn id="15" idx="2"/>
          </p:cNvCxnSpPr>
          <p:nvPr/>
        </p:nvCxnSpPr>
        <p:spPr>
          <a:xfrm flipH="1">
            <a:off x="5029200" y="3745579"/>
            <a:ext cx="198943" cy="132758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E0BFBAB6-B4C5-4D91-A30A-9D589FAA3695}"/>
              </a:ext>
            </a:extLst>
          </p:cNvPr>
          <p:cNvCxnSpPr>
            <a:stCxn id="14" idx="0"/>
          </p:cNvCxnSpPr>
          <p:nvPr/>
        </p:nvCxnSpPr>
        <p:spPr>
          <a:xfrm flipH="1" flipV="1">
            <a:off x="1380392" y="5583115"/>
            <a:ext cx="925725" cy="47274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95BA6337-59AC-4E60-93D9-8A6D22692C63}"/>
              </a:ext>
            </a:extLst>
          </p:cNvPr>
          <p:cNvCxnSpPr>
            <a:stCxn id="14" idx="0"/>
          </p:cNvCxnSpPr>
          <p:nvPr/>
        </p:nvCxnSpPr>
        <p:spPr>
          <a:xfrm flipH="1" flipV="1">
            <a:off x="2074985" y="4391786"/>
            <a:ext cx="231132" cy="166407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C18E723E-F530-43FC-B6F5-5FB36F90B1BF}"/>
              </a:ext>
            </a:extLst>
          </p:cNvPr>
          <p:cNvCxnSpPr/>
          <p:nvPr/>
        </p:nvCxnSpPr>
        <p:spPr>
          <a:xfrm>
            <a:off x="2306116" y="6055859"/>
            <a:ext cx="3329753" cy="18466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D8F1C4DC-9D57-4FEF-BB65-4C84F5AEDAE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351" y="1132050"/>
            <a:ext cx="4856518" cy="1967964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06DE6D1-F964-465B-A5EF-AF99A680545C}"/>
              </a:ext>
            </a:extLst>
          </p:cNvPr>
          <p:cNvCxnSpPr>
            <a:stCxn id="9" idx="0"/>
          </p:cNvCxnSpPr>
          <p:nvPr/>
        </p:nvCxnSpPr>
        <p:spPr>
          <a:xfrm flipV="1">
            <a:off x="1505952" y="1937758"/>
            <a:ext cx="384394" cy="146049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2950CD4-018C-474B-9CA8-643E03D5B3D2}"/>
              </a:ext>
            </a:extLst>
          </p:cNvPr>
          <p:cNvCxnSpPr/>
          <p:nvPr/>
        </p:nvCxnSpPr>
        <p:spPr>
          <a:xfrm flipV="1">
            <a:off x="2297260" y="2013438"/>
            <a:ext cx="337049" cy="101111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341F2D2-7E19-4921-88FE-07DE603C1A68}"/>
              </a:ext>
            </a:extLst>
          </p:cNvPr>
          <p:cNvCxnSpPr/>
          <p:nvPr/>
        </p:nvCxnSpPr>
        <p:spPr>
          <a:xfrm flipH="1" flipV="1">
            <a:off x="3627558" y="2118946"/>
            <a:ext cx="553723" cy="90560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3A9DC5B-A9AD-4E7B-98C8-5E947765C845}"/>
              </a:ext>
            </a:extLst>
          </p:cNvPr>
          <p:cNvCxnSpPr/>
          <p:nvPr/>
        </p:nvCxnSpPr>
        <p:spPr>
          <a:xfrm flipH="1" flipV="1">
            <a:off x="3727938" y="2013438"/>
            <a:ext cx="453343" cy="101111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8E645D2-A29A-450E-8E96-0E149191DEC7}"/>
              </a:ext>
            </a:extLst>
          </p:cNvPr>
          <p:cNvCxnSpPr/>
          <p:nvPr/>
        </p:nvCxnSpPr>
        <p:spPr>
          <a:xfrm flipH="1" flipV="1">
            <a:off x="3833446" y="1937758"/>
            <a:ext cx="347835" cy="108679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028C7356-29BE-4299-AF4C-39C59E483FB4}"/>
              </a:ext>
            </a:extLst>
          </p:cNvPr>
          <p:cNvCxnSpPr>
            <a:stCxn id="15" idx="0"/>
          </p:cNvCxnSpPr>
          <p:nvPr/>
        </p:nvCxnSpPr>
        <p:spPr>
          <a:xfrm flipH="1" flipV="1">
            <a:off x="4967654" y="2365131"/>
            <a:ext cx="260489" cy="101111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1558C75-6828-459C-B3E4-45E1D502F7CB}"/>
              </a:ext>
            </a:extLst>
          </p:cNvPr>
          <p:cNvSpPr txBox="1"/>
          <p:nvPr/>
        </p:nvSpPr>
        <p:spPr>
          <a:xfrm>
            <a:off x="8322798" y="6524471"/>
            <a:ext cx="5531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5794683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877D26-5A46-46BF-8145-55C0F85E0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ond Design</a:t>
            </a:r>
          </a:p>
        </p:txBody>
      </p:sp>
      <p:pic>
        <p:nvPicPr>
          <p:cNvPr id="76802" name="Picture 2" descr="315818315321506581276261">
            <a:extLst>
              <a:ext uri="{FF2B5EF4-FFF2-40B4-BE49-F238E27FC236}">
                <a16:creationId xmlns:a16="http://schemas.microsoft.com/office/drawing/2014/main" id="{3C3453ED-F4F7-45D9-AC0B-B3E68EEE35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86" t="27967" r="16147" b="17380"/>
          <a:stretch/>
        </p:blipFill>
        <p:spPr bwMode="auto">
          <a:xfrm rot="5400000">
            <a:off x="283206" y="3162207"/>
            <a:ext cx="4485247" cy="1868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803" name="Picture 3" descr="737228095506337280051743">
            <a:extLst>
              <a:ext uri="{FF2B5EF4-FFF2-40B4-BE49-F238E27FC236}">
                <a16:creationId xmlns:a16="http://schemas.microsoft.com/office/drawing/2014/main" id="{33861BDE-75E8-441C-B0ED-F8629738BE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06" t="30853" r="13417" b="11695"/>
          <a:stretch/>
        </p:blipFill>
        <p:spPr bwMode="auto">
          <a:xfrm rot="5400000">
            <a:off x="4242243" y="3124540"/>
            <a:ext cx="4385021" cy="1843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0E9401A-C139-43DE-BCD8-F52282132F4B}"/>
              </a:ext>
            </a:extLst>
          </p:cNvPr>
          <p:cNvSpPr txBox="1"/>
          <p:nvPr/>
        </p:nvSpPr>
        <p:spPr>
          <a:xfrm>
            <a:off x="1951893" y="1181250"/>
            <a:ext cx="15787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Front View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249B38A-396D-47E7-9E8B-F247AF70DE5F}"/>
              </a:ext>
            </a:extLst>
          </p:cNvPr>
          <p:cNvSpPr txBox="1"/>
          <p:nvPr/>
        </p:nvSpPr>
        <p:spPr>
          <a:xfrm>
            <a:off x="5811715" y="1193178"/>
            <a:ext cx="22332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Back View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5DE4B6-3A82-4CC5-8EAA-18CA5A7D1CEF}"/>
              </a:ext>
            </a:extLst>
          </p:cNvPr>
          <p:cNvSpPr txBox="1"/>
          <p:nvPr/>
        </p:nvSpPr>
        <p:spPr>
          <a:xfrm>
            <a:off x="8168054" y="6361278"/>
            <a:ext cx="791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9734014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22F53-9F45-4BF4-878C-172438431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ys to improve desig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1B2C90-1ECF-403B-A99A-05DA49EE12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Add a lowpass filter</a:t>
            </a:r>
          </a:p>
          <a:p>
            <a:endParaRPr lang="en-US" sz="2000" dirty="0"/>
          </a:p>
          <a:p>
            <a:r>
              <a:rPr lang="en-US" sz="2000" dirty="0"/>
              <a:t>4-wire contact for shunt resistor</a:t>
            </a:r>
          </a:p>
          <a:p>
            <a:endParaRPr lang="en-US" sz="2000" dirty="0"/>
          </a:p>
          <a:p>
            <a:r>
              <a:rPr lang="en-US" sz="2000" dirty="0"/>
              <a:t>Test Cell at standard conditions</a:t>
            </a:r>
          </a:p>
          <a:p>
            <a:endParaRPr lang="en-US" sz="2000" dirty="0"/>
          </a:p>
          <a:p>
            <a:r>
              <a:rPr lang="en-US" sz="2000" dirty="0"/>
              <a:t>Compare to a secondary standard</a:t>
            </a:r>
          </a:p>
          <a:p>
            <a:endParaRPr lang="en-US" sz="2000" dirty="0"/>
          </a:p>
          <a:p>
            <a:r>
              <a:rPr lang="en-US" sz="2000" dirty="0"/>
              <a:t>Use electrical components with lower error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BE3A3D-3B0A-4BD6-B229-8E5E3E0E409D}"/>
              </a:ext>
            </a:extLst>
          </p:cNvPr>
          <p:cNvSpPr txBox="1"/>
          <p:nvPr/>
        </p:nvSpPr>
        <p:spPr>
          <a:xfrm>
            <a:off x="8271804" y="6418384"/>
            <a:ext cx="4835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9</a:t>
            </a:r>
          </a:p>
        </p:txBody>
      </p:sp>
      <p:pic>
        <p:nvPicPr>
          <p:cNvPr id="77833" name="Picture 9" descr="Image result for improve picture">
            <a:extLst>
              <a:ext uri="{FF2B5EF4-FFF2-40B4-BE49-F238E27FC236}">
                <a16:creationId xmlns:a16="http://schemas.microsoft.com/office/drawing/2014/main" id="{981615D2-16DE-46C4-AB8E-879F341451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8948" y="1324475"/>
            <a:ext cx="3454644" cy="2587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08640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2383444-6C0A-4D82-977D-AE1B4F14CA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EE0B97-CB8C-407B-8FAC-3E1FEAFB1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Overview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8DA758-88A8-4899-BD4F-30229FEA68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/>
              <a:t>Design a prototype irradiance meter</a:t>
            </a:r>
          </a:p>
          <a:p>
            <a:pPr lvl="1">
              <a:buFont typeface="+mj-lt"/>
              <a:buAutoNum type="arabicPeriod"/>
            </a:pPr>
            <a:r>
              <a:rPr lang="en-US" sz="2000" b="0" dirty="0"/>
              <a:t>Research</a:t>
            </a:r>
          </a:p>
          <a:p>
            <a:pPr lvl="1">
              <a:buFont typeface="+mj-lt"/>
              <a:buAutoNum type="arabicPeriod"/>
            </a:pPr>
            <a:r>
              <a:rPr lang="en-US" sz="2000" dirty="0"/>
              <a:t>Select irradiance sensor and design circuit</a:t>
            </a:r>
          </a:p>
          <a:p>
            <a:pPr lvl="1">
              <a:buFont typeface="+mj-lt"/>
              <a:buAutoNum type="arabicPeriod"/>
            </a:pPr>
            <a:r>
              <a:rPr lang="en-US" sz="2000" b="0" dirty="0"/>
              <a:t>Incorporate an inclinometer</a:t>
            </a:r>
          </a:p>
          <a:p>
            <a:pPr lvl="1">
              <a:buFont typeface="+mj-lt"/>
              <a:buAutoNum type="arabicPeriod"/>
            </a:pPr>
            <a:r>
              <a:rPr lang="en-US" sz="2000" dirty="0"/>
              <a:t>Incorporate temperature sensor for ambient temperature and solar panel temperature</a:t>
            </a:r>
          </a:p>
          <a:p>
            <a:pPr lvl="1">
              <a:buFont typeface="+mj-lt"/>
              <a:buAutoNum type="arabicPeriod"/>
            </a:pPr>
            <a:r>
              <a:rPr lang="en-US" sz="2000" b="0" dirty="0"/>
              <a:t>Build </a:t>
            </a:r>
            <a:r>
              <a:rPr lang="en-US" sz="2000" dirty="0"/>
              <a:t>prototype</a:t>
            </a:r>
          </a:p>
          <a:p>
            <a:pPr lvl="1">
              <a:buFont typeface="+mj-lt"/>
              <a:buAutoNum type="arabicPeriod"/>
            </a:pPr>
            <a:r>
              <a:rPr lang="en-US" sz="2000" b="0" dirty="0"/>
              <a:t>Test prototype</a:t>
            </a:r>
          </a:p>
        </p:txBody>
      </p:sp>
      <p:pic>
        <p:nvPicPr>
          <p:cNvPr id="75778" name="Picture 2" descr="Image result for solar project">
            <a:extLst>
              <a:ext uri="{FF2B5EF4-FFF2-40B4-BE49-F238E27FC236}">
                <a16:creationId xmlns:a16="http://schemas.microsoft.com/office/drawing/2014/main" id="{C960982C-1123-4DFE-A03E-6D936E1D5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0298" y="3265731"/>
            <a:ext cx="4977742" cy="3317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0380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6C065BC-E96E-4B53-8007-770B307FBF82}"/>
              </a:ext>
            </a:extLst>
          </p:cNvPr>
          <p:cNvSpPr/>
          <p:nvPr/>
        </p:nvSpPr>
        <p:spPr>
          <a:xfrm>
            <a:off x="123092" y="3086044"/>
            <a:ext cx="4677508" cy="3675241"/>
          </a:xfrm>
          <a:prstGeom prst="roundRect">
            <a:avLst/>
          </a:prstGeom>
          <a:noFill/>
          <a:ln w="38100">
            <a:solidFill>
              <a:srgbClr val="FFC3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93FCC8F-91C0-45AB-9A45-426C5A31D21E}"/>
              </a:ext>
            </a:extLst>
          </p:cNvPr>
          <p:cNvSpPr/>
          <p:nvPr/>
        </p:nvSpPr>
        <p:spPr>
          <a:xfrm>
            <a:off x="123093" y="961988"/>
            <a:ext cx="4677508" cy="2009812"/>
          </a:xfrm>
          <a:prstGeom prst="roundRect">
            <a:avLst/>
          </a:prstGeom>
          <a:noFill/>
          <a:ln w="38100">
            <a:solidFill>
              <a:srgbClr val="FFC3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8D1E82-73A5-418F-89F9-9CF0B559A9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Additional Tasks</a:t>
            </a:r>
          </a:p>
        </p:txBody>
      </p:sp>
      <p:pic>
        <p:nvPicPr>
          <p:cNvPr id="75778" name="Picture 2" descr="Image result for solar panels">
            <a:extLst>
              <a:ext uri="{FF2B5EF4-FFF2-40B4-BE49-F238E27FC236}">
                <a16:creationId xmlns:a16="http://schemas.microsoft.com/office/drawing/2014/main" id="{3FB71929-5BB2-41C6-A011-6AAE63B7A1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169" y="1515985"/>
            <a:ext cx="2717353" cy="1350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780" name="Picture 4" descr="Image result for Solar simulators">
            <a:extLst>
              <a:ext uri="{FF2B5EF4-FFF2-40B4-BE49-F238E27FC236}">
                <a16:creationId xmlns:a16="http://schemas.microsoft.com/office/drawing/2014/main" id="{40F47852-4B02-4907-B838-042C2C9807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4065" y="4619741"/>
            <a:ext cx="2841381" cy="213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782" name="Picture 6" descr="Image result for DC combiner box, 1500 V">
            <a:extLst>
              <a:ext uri="{FF2B5EF4-FFF2-40B4-BE49-F238E27FC236}">
                <a16:creationId xmlns:a16="http://schemas.microsoft.com/office/drawing/2014/main" id="{34179D7E-D467-487B-A094-ECD60D9A4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4150" y="1362064"/>
            <a:ext cx="3524829" cy="2352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784" name="Picture 8" descr="Image result for Solar cell calibration">
            <a:extLst>
              <a:ext uri="{FF2B5EF4-FFF2-40B4-BE49-F238E27FC236}">
                <a16:creationId xmlns:a16="http://schemas.microsoft.com/office/drawing/2014/main" id="{BFE808CD-C548-4876-BDE2-F9A102CA5D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869" y="3429000"/>
            <a:ext cx="4187131" cy="315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A1458B-77E4-45C2-B446-8E69A31DCE72}"/>
              </a:ext>
            </a:extLst>
          </p:cNvPr>
          <p:cNvSpPr txBox="1"/>
          <p:nvPr/>
        </p:nvSpPr>
        <p:spPr>
          <a:xfrm>
            <a:off x="1182564" y="1101315"/>
            <a:ext cx="2558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/>
              <a:t>Solar Panel Resear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4658A2-ABD3-48F5-8487-E3C4417CCB62}"/>
              </a:ext>
            </a:extLst>
          </p:cNvPr>
          <p:cNvSpPr txBox="1"/>
          <p:nvPr/>
        </p:nvSpPr>
        <p:spPr>
          <a:xfrm>
            <a:off x="5301761" y="961987"/>
            <a:ext cx="3103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/>
              <a:t>DC Combiner Box Research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627E7D-1CDD-42AE-8770-AA786AC5FA23}"/>
              </a:ext>
            </a:extLst>
          </p:cNvPr>
          <p:cNvSpPr txBox="1"/>
          <p:nvPr/>
        </p:nvSpPr>
        <p:spPr>
          <a:xfrm>
            <a:off x="5333999" y="4250409"/>
            <a:ext cx="34251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/>
              <a:t>Solar Simulator Resear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CCA1EE-E252-4526-AEE4-57E8CAB5A3AC}"/>
              </a:ext>
            </a:extLst>
          </p:cNvPr>
          <p:cNvSpPr txBox="1"/>
          <p:nvPr/>
        </p:nvSpPr>
        <p:spPr>
          <a:xfrm>
            <a:off x="1199153" y="3086045"/>
            <a:ext cx="2558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/>
              <a:t>Calibration Technique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EFDBE3A-66A2-4DFE-B049-ADAE1A282776}"/>
              </a:ext>
            </a:extLst>
          </p:cNvPr>
          <p:cNvSpPr/>
          <p:nvPr/>
        </p:nvSpPr>
        <p:spPr>
          <a:xfrm>
            <a:off x="4960532" y="961987"/>
            <a:ext cx="4060376" cy="2915421"/>
          </a:xfrm>
          <a:prstGeom prst="roundRect">
            <a:avLst/>
          </a:prstGeom>
          <a:noFill/>
          <a:ln w="38100">
            <a:solidFill>
              <a:srgbClr val="FFC3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834EA30-89E1-43F3-AD28-7E2BE47454B1}"/>
              </a:ext>
            </a:extLst>
          </p:cNvPr>
          <p:cNvSpPr/>
          <p:nvPr/>
        </p:nvSpPr>
        <p:spPr>
          <a:xfrm>
            <a:off x="4960532" y="4176346"/>
            <a:ext cx="4060376" cy="2584939"/>
          </a:xfrm>
          <a:prstGeom prst="roundRect">
            <a:avLst/>
          </a:prstGeom>
          <a:noFill/>
          <a:ln w="38100">
            <a:solidFill>
              <a:srgbClr val="FFC3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14D713-F839-46C0-8F27-E19F43942E7B}"/>
              </a:ext>
            </a:extLst>
          </p:cNvPr>
          <p:cNvSpPr txBox="1"/>
          <p:nvPr/>
        </p:nvSpPr>
        <p:spPr>
          <a:xfrm>
            <a:off x="8291615" y="6466702"/>
            <a:ext cx="6877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20</a:t>
            </a:r>
          </a:p>
        </p:txBody>
      </p:sp>
    </p:spTree>
    <p:extLst>
      <p:ext uri="{BB962C8B-B14F-4D97-AF65-F5344CB8AC3E}">
        <p14:creationId xmlns:p14="http://schemas.microsoft.com/office/powerpoint/2010/main" val="26280863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78FCD-45F2-4F08-9B7D-2B3F4DF97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458" y="302174"/>
            <a:ext cx="7445502" cy="549274"/>
          </a:xfrm>
        </p:spPr>
        <p:txBody>
          <a:bodyPr/>
          <a:lstStyle/>
          <a:p>
            <a:r>
              <a:rPr lang="en-US" sz="3200" dirty="0"/>
              <a:t>Internship Take-away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31CE67-2668-4DDD-BF90-CF332B5AF4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Design Review, what to consider, how to select parts</a:t>
            </a:r>
          </a:p>
          <a:p>
            <a:r>
              <a:rPr lang="en-US" sz="2400" dirty="0"/>
              <a:t>PCB Design</a:t>
            </a:r>
          </a:p>
          <a:p>
            <a:r>
              <a:rPr lang="en-US" sz="2400" dirty="0"/>
              <a:t>Error Analysis</a:t>
            </a:r>
          </a:p>
          <a:p>
            <a:r>
              <a:rPr lang="en-US" sz="2400" dirty="0"/>
              <a:t>Working with Computer Engineering and Mechanical Engineering</a:t>
            </a:r>
          </a:p>
          <a:p>
            <a:r>
              <a:rPr lang="en-US" sz="2400" dirty="0"/>
              <a:t>Corporate Environment</a:t>
            </a:r>
          </a:p>
          <a:p>
            <a:r>
              <a:rPr lang="en-US" sz="2400" dirty="0"/>
              <a:t>Meeting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13B5CD-2D6D-47ED-87E5-9146FED70B82}"/>
              </a:ext>
            </a:extLst>
          </p:cNvPr>
          <p:cNvSpPr txBox="1"/>
          <p:nvPr/>
        </p:nvSpPr>
        <p:spPr>
          <a:xfrm>
            <a:off x="8280596" y="6466701"/>
            <a:ext cx="395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2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D21B2DF-12C8-4A68-9257-7E848B290A2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5416" y="2843242"/>
            <a:ext cx="4800834" cy="3601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4704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51E80E-6F94-40AD-B550-34E92A91F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ar Irradian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979E41-3521-4910-B17F-9FB2477226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0ADDE070-025B-4AEB-AA16-C1755B328D2E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/>
              <a:lstStyle/>
              <a:p>
                <a:r>
                  <a:rPr lang="en-US" b="0" dirty="0"/>
                  <a:t>Solar Irradiance is radiant flux (power) per unit area 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b="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>
                            <a:latin typeface="Cambria Math" panose="02040503050406030204" pitchFamily="18" charset="0"/>
                          </a:rPr>
                          <m:t>𝑊</m:t>
                        </m:r>
                      </m:num>
                      <m:den>
                        <m:sSup>
                          <m:sSupPr>
                            <m:ctrlPr>
                              <a:rPr lang="en-US" b="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p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den>
                    </m:f>
                  </m:oMath>
                </a14:m>
                <a:r>
                  <a:rPr lang="en-US" b="0" dirty="0"/>
                  <a:t>) received from the sun</a:t>
                </a: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0ADDE070-025B-4AEB-AA16-C1755B328D2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7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6802" name="Picture 2" descr="Image result for effects of temperature and irradiance on solar panel">
            <a:extLst>
              <a:ext uri="{FF2B5EF4-FFF2-40B4-BE49-F238E27FC236}">
                <a16:creationId xmlns:a16="http://schemas.microsoft.com/office/drawing/2014/main" id="{DF35AABE-6A93-4E9F-92C8-B3D244BA3F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270" y="1523576"/>
            <a:ext cx="7649308" cy="5252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51240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48AAC-23B1-4330-8862-C32F80EA40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Measuring Solar Irradi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0F4BB8-F1B1-4437-BCBB-1B3D95AC28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458" y="1020954"/>
            <a:ext cx="8222742" cy="804862"/>
          </a:xfrm>
        </p:spPr>
        <p:txBody>
          <a:bodyPr/>
          <a:lstStyle/>
          <a:p>
            <a:r>
              <a:rPr lang="en-US" dirty="0"/>
              <a:t>A pyranometer measure global irradiance (direct + diffused)</a:t>
            </a:r>
          </a:p>
          <a:p>
            <a:r>
              <a:rPr lang="en-US" dirty="0"/>
              <a:t>Irradiance is the integral of the spectrum over all wavelengths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3DD521EE-6A48-4A1B-97EC-20E0AC18D6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6269020"/>
              </p:ext>
            </p:extLst>
          </p:nvPr>
        </p:nvGraphicFramePr>
        <p:xfrm>
          <a:off x="235458" y="1825816"/>
          <a:ext cx="8679942" cy="47244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3314">
                  <a:extLst>
                    <a:ext uri="{9D8B030D-6E8A-4147-A177-3AD203B41FA5}">
                      <a16:colId xmlns:a16="http://schemas.microsoft.com/office/drawing/2014/main" val="2821731877"/>
                    </a:ext>
                  </a:extLst>
                </a:gridCol>
                <a:gridCol w="2893314">
                  <a:extLst>
                    <a:ext uri="{9D8B030D-6E8A-4147-A177-3AD203B41FA5}">
                      <a16:colId xmlns:a16="http://schemas.microsoft.com/office/drawing/2014/main" val="3248288266"/>
                    </a:ext>
                  </a:extLst>
                </a:gridCol>
                <a:gridCol w="2893314">
                  <a:extLst>
                    <a:ext uri="{9D8B030D-6E8A-4147-A177-3AD203B41FA5}">
                      <a16:colId xmlns:a16="http://schemas.microsoft.com/office/drawing/2014/main" val="4250463160"/>
                    </a:ext>
                  </a:extLst>
                </a:gridCol>
              </a:tblGrid>
              <a:tr h="436668">
                <a:tc>
                  <a:txBody>
                    <a:bodyPr/>
                    <a:lstStyle/>
                    <a:p>
                      <a:r>
                        <a:rPr lang="en-US" dirty="0"/>
                        <a:t>Thermop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hotodi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ference Ce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24916"/>
                  </a:ext>
                </a:extLst>
              </a:tr>
              <a:tr h="428781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Flat Spectral Respons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Highest Accurac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Most Expensiv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Not used in handheld me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Spectrally Selective, not what a panel se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Least Accurat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Least Expensiv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Requires angle corr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Closely matches PV panel spectral respons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Accurate to PV Panel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Cost depends on the Cell Calibra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Sees what a solar panel se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628479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406FE0F-511C-4CA3-9476-F040699CE7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030" y="4480749"/>
            <a:ext cx="2703939" cy="180623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3E5AE1E-D83E-4BDE-A310-674E13E7DF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7333" y="4319199"/>
            <a:ext cx="2129333" cy="2129333"/>
          </a:xfrm>
          <a:prstGeom prst="rect">
            <a:avLst/>
          </a:prstGeom>
        </p:spPr>
      </p:pic>
      <p:pic>
        <p:nvPicPr>
          <p:cNvPr id="75778" name="Picture 2" descr="Image result for reference cell solar">
            <a:extLst>
              <a:ext uri="{FF2B5EF4-FFF2-40B4-BE49-F238E27FC236}">
                <a16:creationId xmlns:a16="http://schemas.microsoft.com/office/drawing/2014/main" id="{18D51A44-87E5-4646-9DD0-3FB4CBCDE5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7030" y="4627038"/>
            <a:ext cx="2705142" cy="1513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10B74FB-0BB9-44BF-A184-2C5593E3FC96}"/>
              </a:ext>
            </a:extLst>
          </p:cNvPr>
          <p:cNvSpPr txBox="1"/>
          <p:nvPr/>
        </p:nvSpPr>
        <p:spPr>
          <a:xfrm>
            <a:off x="8360857" y="6501286"/>
            <a:ext cx="3874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5714536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01B6E-4C5A-4E8C-85A6-CE54AD4A5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ctral Sensitivity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073E067-249E-4993-8751-DE5E7F7BA06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844" y="1058622"/>
            <a:ext cx="7738312" cy="5386139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A1CDAA7-3FF6-46A8-89C2-3303423FF4B0}"/>
              </a:ext>
            </a:extLst>
          </p:cNvPr>
          <p:cNvSpPr txBox="1"/>
          <p:nvPr/>
        </p:nvSpPr>
        <p:spPr>
          <a:xfrm>
            <a:off x="8638712" y="6444761"/>
            <a:ext cx="3646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1165033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3EAB51-50DE-4C82-9547-8F3A2C324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s of panels availab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0EA4F6-1DF9-400F-912C-1857BD8261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458" y="1020953"/>
            <a:ext cx="8634222" cy="5406224"/>
          </a:xfrm>
        </p:spPr>
        <p:txBody>
          <a:bodyPr>
            <a:normAutofit/>
          </a:bodyPr>
          <a:lstStyle/>
          <a:p>
            <a:r>
              <a:rPr lang="en-US" dirty="0"/>
              <a:t>Monocrystalline (Mono-Si)</a:t>
            </a:r>
          </a:p>
          <a:p>
            <a:pPr lvl="1"/>
            <a:r>
              <a:rPr lang="en-US" dirty="0"/>
              <a:t>20% or greater</a:t>
            </a:r>
          </a:p>
          <a:p>
            <a:pPr lvl="1"/>
            <a:r>
              <a:rPr lang="en-US" dirty="0"/>
              <a:t>Expensive</a:t>
            </a:r>
          </a:p>
          <a:p>
            <a:pPr lvl="1"/>
            <a:r>
              <a:rPr lang="en-US" dirty="0"/>
              <a:t>Space- efficient</a:t>
            </a:r>
          </a:p>
          <a:p>
            <a:r>
              <a:rPr lang="en-US" dirty="0"/>
              <a:t>Polycrystalline (P-Si)</a:t>
            </a:r>
          </a:p>
          <a:p>
            <a:pPr lvl="1"/>
            <a:r>
              <a:rPr lang="en-US" dirty="0"/>
              <a:t>around 15%</a:t>
            </a:r>
          </a:p>
          <a:p>
            <a:pPr lvl="1"/>
            <a:r>
              <a:rPr lang="en-US" dirty="0"/>
              <a:t>Process to make is cheaper and simpler</a:t>
            </a:r>
          </a:p>
          <a:p>
            <a:r>
              <a:rPr lang="en-US" dirty="0"/>
              <a:t>Amorphous</a:t>
            </a:r>
          </a:p>
          <a:p>
            <a:pPr lvl="1"/>
            <a:r>
              <a:rPr lang="en-US" dirty="0"/>
              <a:t>7-10%</a:t>
            </a:r>
          </a:p>
          <a:p>
            <a:pPr lvl="1"/>
            <a:r>
              <a:rPr lang="en-US" dirty="0"/>
              <a:t>Best if space is not an issue</a:t>
            </a:r>
          </a:p>
          <a:p>
            <a:pPr lvl="1"/>
            <a:r>
              <a:rPr lang="en-US" dirty="0"/>
              <a:t>Degrade faster</a:t>
            </a:r>
          </a:p>
          <a:p>
            <a:r>
              <a:rPr lang="en-US" dirty="0"/>
              <a:t>Cadmium Telluride (CdTe)</a:t>
            </a:r>
          </a:p>
          <a:p>
            <a:pPr lvl="1"/>
            <a:r>
              <a:rPr lang="en-US" dirty="0"/>
              <a:t>14-18%</a:t>
            </a:r>
          </a:p>
          <a:p>
            <a:pPr lvl="1"/>
            <a:r>
              <a:rPr lang="en-US" dirty="0"/>
              <a:t>Disposal and recycling is costly and dangerous</a:t>
            </a:r>
          </a:p>
          <a:p>
            <a:r>
              <a:rPr lang="en-US" dirty="0"/>
              <a:t>Copper Indium Gallium Selenide (CIGS)</a:t>
            </a:r>
          </a:p>
          <a:p>
            <a:pPr lvl="1"/>
            <a:r>
              <a:rPr lang="en-US" dirty="0"/>
              <a:t>up to 22.4%</a:t>
            </a:r>
          </a:p>
          <a:p>
            <a:pPr lvl="1"/>
            <a:r>
              <a:rPr lang="en-US" dirty="0"/>
              <a:t>Many manufacture have gone bankrupt</a:t>
            </a:r>
          </a:p>
          <a:p>
            <a:r>
              <a:rPr lang="en-US" dirty="0"/>
              <a:t>Gallium Arsenide (GaAs)</a:t>
            </a:r>
          </a:p>
          <a:p>
            <a:pPr lvl="1"/>
            <a:r>
              <a:rPr lang="en-US" dirty="0"/>
              <a:t>up to 28.9%</a:t>
            </a:r>
          </a:p>
          <a:p>
            <a:pPr lvl="1"/>
            <a:r>
              <a:rPr lang="en-US" dirty="0"/>
              <a:t>Most expensive</a:t>
            </a:r>
          </a:p>
          <a:p>
            <a:pPr lvl="1"/>
            <a:r>
              <a:rPr lang="en-US" dirty="0"/>
              <a:t>Used on spacecrafts</a:t>
            </a:r>
          </a:p>
        </p:txBody>
      </p:sp>
      <p:pic>
        <p:nvPicPr>
          <p:cNvPr id="78850" name="Picture 2" descr="Image result for mono vs poly">
            <a:extLst>
              <a:ext uri="{FF2B5EF4-FFF2-40B4-BE49-F238E27FC236}">
                <a16:creationId xmlns:a16="http://schemas.microsoft.com/office/drawing/2014/main" id="{4CC134AA-EE34-4F6D-A21A-646FD36CBD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5239" y="1101172"/>
            <a:ext cx="3633432" cy="2934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ight Brace 3">
            <a:extLst>
              <a:ext uri="{FF2B5EF4-FFF2-40B4-BE49-F238E27FC236}">
                <a16:creationId xmlns:a16="http://schemas.microsoft.com/office/drawing/2014/main" id="{4102685B-ED1B-4C50-AE3F-D36868F274AC}"/>
              </a:ext>
            </a:extLst>
          </p:cNvPr>
          <p:cNvSpPr/>
          <p:nvPr/>
        </p:nvSpPr>
        <p:spPr>
          <a:xfrm>
            <a:off x="3798277" y="2795955"/>
            <a:ext cx="1186962" cy="3631222"/>
          </a:xfrm>
          <a:prstGeom prst="rightBrace">
            <a:avLst>
              <a:gd name="adj1" fmla="val 8333"/>
              <a:gd name="adj2" fmla="val 51211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A2E7FF-81C9-4BD6-B9DE-529E476F28EE}"/>
              </a:ext>
            </a:extLst>
          </p:cNvPr>
          <p:cNvSpPr txBox="1"/>
          <p:nvPr/>
        </p:nvSpPr>
        <p:spPr>
          <a:xfrm>
            <a:off x="5147018" y="4475202"/>
            <a:ext cx="11869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in-Fil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3A2C1E2-CDC0-4E07-BE19-AC7C7643AFB5}"/>
              </a:ext>
            </a:extLst>
          </p:cNvPr>
          <p:cNvSpPr txBox="1"/>
          <p:nvPr/>
        </p:nvSpPr>
        <p:spPr>
          <a:xfrm>
            <a:off x="8644773" y="6447213"/>
            <a:ext cx="3692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pic>
        <p:nvPicPr>
          <p:cNvPr id="75778" name="Picture 2" descr="Image result for thin film solar panels">
            <a:extLst>
              <a:ext uri="{FF2B5EF4-FFF2-40B4-BE49-F238E27FC236}">
                <a16:creationId xmlns:a16="http://schemas.microsoft.com/office/drawing/2014/main" id="{F48C3F94-288B-453C-B359-47EC685104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15"/>
          <a:stretch/>
        </p:blipFill>
        <p:spPr bwMode="auto">
          <a:xfrm>
            <a:off x="5225114" y="4902003"/>
            <a:ext cx="3153682" cy="1428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25225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34143B-E7A8-40A4-9E57-38BCC2061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ctral responsivity of different solar cells</a:t>
            </a:r>
          </a:p>
        </p:txBody>
      </p:sp>
      <p:pic>
        <p:nvPicPr>
          <p:cNvPr id="75778" name="Picture 2" descr="Image result for spectral responsivity of different solar cells">
            <a:extLst>
              <a:ext uri="{FF2B5EF4-FFF2-40B4-BE49-F238E27FC236}">
                <a16:creationId xmlns:a16="http://schemas.microsoft.com/office/drawing/2014/main" id="{77BE5FA5-E4A2-4121-B566-50642B4382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121" y="1863968"/>
            <a:ext cx="7595757" cy="471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52CC0D9-06FA-4CF6-B4EA-E7E7FB4524F4}"/>
              </a:ext>
            </a:extLst>
          </p:cNvPr>
          <p:cNvSpPr txBox="1"/>
          <p:nvPr/>
        </p:nvSpPr>
        <p:spPr>
          <a:xfrm>
            <a:off x="536330" y="1047731"/>
            <a:ext cx="66909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rradiance is the integral of the spectrum over all wavelengths</a:t>
            </a:r>
          </a:p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9B07EC9-1AAC-4C99-8F9F-79D5F7610B08}"/>
              </a:ext>
            </a:extLst>
          </p:cNvPr>
          <p:cNvSpPr txBox="1"/>
          <p:nvPr/>
        </p:nvSpPr>
        <p:spPr>
          <a:xfrm>
            <a:off x="8607669" y="6436143"/>
            <a:ext cx="3952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9258260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B0C95-5E89-4D8A-8F6E-D4C74CEBA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culating Irradi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353DF0E8-6DB7-4912-9D1C-063118E061D0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US" dirty="0"/>
                  <a:t>Proportional to short-circuit current (IEC 60891):</a:t>
                </a:r>
              </a:p>
              <a:p>
                <a:endParaRPr lang="en-US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8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8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𝑛𝑒𝑤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8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𝑜𝑙𝑑</m:t>
                              </m:r>
                            </m:sub>
                          </m:sSub>
                        </m:den>
                      </m:f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e>
                            <m:sub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𝑠𝑐</m:t>
                              </m:r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𝑛𝑒𝑤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e>
                            <m:sub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𝑠𝑐</m:t>
                              </m:r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𝑜𝑙𝑑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sz="1800" dirty="0"/>
              </a:p>
              <a:p>
                <a:pPr marL="0" indent="0">
                  <a:buNone/>
                </a:pPr>
                <a:endParaRPr lang="en-US" sz="1800" dirty="0"/>
              </a:p>
              <a:p>
                <a:r>
                  <a:rPr lang="en-US" dirty="0"/>
                  <a:t>With temperature compensation (IEC 60891):</a:t>
                </a:r>
              </a:p>
              <a:p>
                <a:endParaRPr lang="en-US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𝑒𝑤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𝑜𝑙𝑑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𝑐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𝑛𝑒𝑤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𝑐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𝑜𝑙𝑑</m:t>
                              </m:r>
                            </m:sub>
                          </m:sSub>
                        </m:den>
                      </m:f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− </m:t>
                          </m:r>
                          <m:r>
                            <m:rPr>
                              <m:sty m:val="p"/>
                            </m:rPr>
                            <a:rPr lang="el-GR" i="1" smtClean="0">
                              <a:latin typeface="Cambria Math" panose="02040503050406030204" pitchFamily="18" charset="0"/>
                            </a:rPr>
                            <m:t>α</m:t>
                          </m:r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𝑚𝑒𝑎𝑠</m:t>
                                  </m:r>
                                </m:sub>
                              </m:s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−2</m:t>
                              </m:r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5</m:t>
                                  </m:r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𝑜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r>
                  <a:rPr lang="en-US" dirty="0"/>
                  <a:t>Standard Test Conditions (IEC 61829)</a:t>
                </a:r>
              </a:p>
              <a:p>
                <a:pPr lvl="1"/>
                <a:r>
                  <a:rPr lang="en-US" dirty="0"/>
                  <a:t>module temperature: 25 °C</a:t>
                </a:r>
              </a:p>
              <a:p>
                <a:pPr lvl="1"/>
                <a:r>
                  <a:rPr lang="en-US" dirty="0"/>
                  <a:t>in-plane irradiance: 1 000 W/m</a:t>
                </a:r>
                <a:r>
                  <a:rPr lang="en-US" baseline="30000" dirty="0"/>
                  <a:t>2</a:t>
                </a:r>
                <a:endParaRPr lang="en-US" dirty="0"/>
              </a:p>
              <a:p>
                <a:pPr lvl="1"/>
                <a:r>
                  <a:rPr lang="en-US" dirty="0"/>
                  <a:t>spectral distribution: AM 1,5 (global)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353DF0E8-6DB7-4912-9D1C-063118E061D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41" t="-56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7826" name="Picture 2" descr="Image result for iec">
            <a:extLst>
              <a:ext uri="{FF2B5EF4-FFF2-40B4-BE49-F238E27FC236}">
                <a16:creationId xmlns:a16="http://schemas.microsoft.com/office/drawing/2014/main" id="{57427BEA-8715-4A27-A5F0-48352994A7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5530" y="3693050"/>
            <a:ext cx="2836399" cy="2836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C629BCB-15C7-43FD-97D9-26A139CE5946}"/>
              </a:ext>
            </a:extLst>
          </p:cNvPr>
          <p:cNvSpPr txBox="1"/>
          <p:nvPr/>
        </p:nvSpPr>
        <p:spPr>
          <a:xfrm>
            <a:off x="8642838" y="6581001"/>
            <a:ext cx="5011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3401544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B207D-2571-4A7A-88CD-81F9D5181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match Factor (IEC 60904-7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6C85B752-25C4-47C4-B297-30498BDC0FCC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235458" y="1020953"/>
                <a:ext cx="8634222" cy="5766710"/>
              </a:xfrm>
            </p:spPr>
            <p:txBody>
              <a:bodyPr>
                <a:normAutofit/>
              </a:bodyPr>
              <a:lstStyle/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𝐺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𝑒𝑓𝑓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𝑎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𝑟𝑒𝑓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𝑠𝑝𝑒𝑐𝑡𝑟𝑢𝑚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𝑀𝑀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𝐺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𝑎𝑠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  <a:p>
                <a:r>
                  <a:rPr lang="en-US" dirty="0"/>
                  <a:t>G</a:t>
                </a:r>
                <a:r>
                  <a:rPr lang="en-US" baseline="-25000" dirty="0"/>
                  <a:t>eff as ref spectrum	</a:t>
                </a:r>
                <a:r>
                  <a:rPr lang="en-US" dirty="0"/>
                  <a:t> is the effective irradiance of the test specimen spectrum;</a:t>
                </a:r>
              </a:p>
              <a:p>
                <a:r>
                  <a:rPr lang="en-US" dirty="0"/>
                  <a:t>G</a:t>
                </a:r>
                <a:r>
                  <a:rPr lang="en-US" baseline="-25000" dirty="0"/>
                  <a:t>meas</a:t>
                </a:r>
                <a:r>
                  <a:rPr lang="en-US" dirty="0"/>
                  <a:t> 		is the irradiance as measured by the reference device;</a:t>
                </a:r>
              </a:p>
              <a:p>
                <a:r>
                  <a:rPr lang="en-US" dirty="0"/>
                  <a:t>MM 		is the spectral mismatch factor.</a:t>
                </a:r>
              </a:p>
              <a:p>
                <a:pPr marL="0" indent="0" algn="ctr">
                  <a:buNone/>
                </a:pPr>
                <a:endParaRPr lang="en-US" dirty="0"/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𝑀𝑀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limLoc m:val="undOvr"/>
                              <m:subHide m:val="on"/>
                              <m:supHide m:val="on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𝑟𝑒𝑓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𝜆</m:t>
                                  </m:r>
                                </m:e>
                              </m:d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𝑟𝑒𝑓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𝜆</m:t>
                                  </m:r>
                                </m:e>
                              </m:d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𝜆</m:t>
                              </m:r>
                              <m:nary>
                                <m:naryPr>
                                  <m:limLoc m:val="undOvr"/>
                                  <m:subHide m:val="on"/>
                                  <m:supHide m:val="on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/>
                                <m:sup/>
                                <m:e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𝐸</m:t>
                                      </m:r>
                                    </m:e>
                                    <m:sub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𝑚𝑒𝑎𝑠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𝜆</m:t>
                                      </m:r>
                                    </m:e>
                                  </m:d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𝑆</m:t>
                                      </m:r>
                                    </m:e>
                                    <m:sub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𝑠𝑎𝑚𝑝𝑙𝑒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𝜆</m:t>
                                      </m:r>
                                    </m:e>
                                  </m:d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𝜆</m:t>
                                  </m:r>
                                </m:e>
                              </m:nary>
                            </m:e>
                          </m:nary>
                        </m:num>
                        <m:den>
                          <m:nary>
                            <m:naryPr>
                              <m:limLoc m:val="undOvr"/>
                              <m:subHide m:val="on"/>
                              <m:supHide m:val="on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𝑚𝑒𝑎𝑠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𝜆</m:t>
                                  </m:r>
                                </m:e>
                              </m:d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𝑟𝑒𝑓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𝜆</m:t>
                                  </m:r>
                                </m:e>
                              </m:d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𝜆</m:t>
                              </m:r>
                            </m:e>
                          </m:nary>
                          <m:nary>
                            <m:naryPr>
                              <m:limLoc m:val="undOvr"/>
                              <m:subHide m:val="on"/>
                              <m:supHide m:val="on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𝑟𝑒𝑓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𝜆</m:t>
                                  </m:r>
                                </m:e>
                              </m:d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𝑠𝑎𝑚𝑝𝑙𝑒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𝜆</m:t>
                                  </m:r>
                                </m:e>
                              </m:d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𝜆</m:t>
                              </m:r>
                            </m:e>
                          </m:nary>
                        </m:den>
                      </m:f>
                    </m:oMath>
                  </m:oMathPara>
                </a14:m>
                <a:endParaRPr lang="en-US" dirty="0"/>
              </a:p>
              <a:p>
                <a:r>
                  <a:rPr lang="en-US" dirty="0"/>
                  <a:t>E</a:t>
                </a:r>
                <a:r>
                  <a:rPr lang="en-US" baseline="-25000" dirty="0"/>
                  <a:t>ref</a:t>
                </a:r>
                <a:r>
                  <a:rPr lang="en-US" dirty="0"/>
                  <a:t>(λ) 		is the irradiance per unit bandwidth at a particular wavelength λ, </a:t>
                </a:r>
              </a:p>
              <a:p>
                <a:pPr marL="0" indent="0">
                  <a:buNone/>
                </a:pPr>
                <a:r>
                  <a:rPr lang="en-US" dirty="0"/>
                  <a:t>		of the reference spectral irradiance distribution;</a:t>
                </a:r>
              </a:p>
              <a:p>
                <a:r>
                  <a:rPr lang="en-US" dirty="0"/>
                  <a:t>E</a:t>
                </a:r>
                <a:r>
                  <a:rPr lang="en-US" baseline="-25000" dirty="0"/>
                  <a:t>meas</a:t>
                </a:r>
                <a:r>
                  <a:rPr lang="en-US" dirty="0"/>
                  <a:t>(λ) 		is the irradiance per unit bandwidth at a particular wavelength λ, of the spectral 			irradiance distribution of the incoming light at the time of measurement;</a:t>
                </a:r>
              </a:p>
              <a:p>
                <a:r>
                  <a:rPr lang="en-US" dirty="0"/>
                  <a:t>S­­</a:t>
                </a:r>
                <a:r>
                  <a:rPr lang="en-US" baseline="-25000" dirty="0"/>
                  <a:t>ref</a:t>
                </a:r>
                <a:r>
                  <a:rPr lang="en-US" dirty="0"/>
                  <a:t>(λ) 		is the spectral response of the reference PV device;</a:t>
                </a:r>
              </a:p>
              <a:p>
                <a:r>
                  <a:rPr lang="en-US" dirty="0"/>
                  <a:t>S</a:t>
                </a:r>
                <a:r>
                  <a:rPr lang="en-US" baseline="-25000" dirty="0"/>
                  <a:t>sample</a:t>
                </a:r>
                <a:r>
                  <a:rPr lang="en-US" dirty="0"/>
                  <a:t>(λ) 	is the spectral response of the test PV device.</a:t>
                </a:r>
              </a:p>
              <a:p>
                <a:pPr marL="0" indent="0" algn="ctr">
                  <a:buNone/>
                </a:pPr>
                <a:endParaRPr lang="en-US" dirty="0"/>
              </a:p>
              <a:p>
                <a:pPr marL="0" indent="0" algn="ctr">
                  <a:buNone/>
                </a:pPr>
                <a:r>
                  <a:rPr lang="en-US" dirty="0"/>
                  <a:t>In the case, that absolute spectra and absolute spectral responses are used for the analysis:</a:t>
                </a:r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𝑀𝑀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𝑠𝑐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𝑟𝑒𝑓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𝑟𝑒𝑓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𝐼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𝑠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𝑠𝑎𝑚𝑝𝑙𝑒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𝐸</m:t>
                                      </m:r>
                                    </m:e>
                                    <m:sub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𝑚𝑒𝑎𝑠</m:t>
                                      </m:r>
                                    </m:sub>
                                  </m:sSub>
                                </m:sub>
                              </m:sSub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𝑠𝑐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𝑟𝑒𝑓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𝑚𝑒𝑎𝑠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𝐼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𝑠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𝑠𝑎𝑚𝑝𝑙𝑒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𝐸</m:t>
                                      </m:r>
                                    </m:e>
                                    <m:sub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𝑟𝑒𝑓</m:t>
                                      </m:r>
                                    </m:sub>
                                  </m:sSub>
                                </m:sub>
                              </m:sSub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6C85B752-25C4-47C4-B297-30498BDC0FC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235458" y="1020953"/>
                <a:ext cx="8634222" cy="5766710"/>
              </a:xfrm>
              <a:blipFill>
                <a:blip r:embed="rId2"/>
                <a:stretch>
                  <a:fillRect l="-14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Box 3">
            <a:extLst>
              <a:ext uri="{FF2B5EF4-FFF2-40B4-BE49-F238E27FC236}">
                <a16:creationId xmlns:a16="http://schemas.microsoft.com/office/drawing/2014/main" id="{14A80D98-A4BC-4C3D-A1EB-E08B1ACF18A0}"/>
              </a:ext>
            </a:extLst>
          </p:cNvPr>
          <p:cNvSpPr txBox="1"/>
          <p:nvPr/>
        </p:nvSpPr>
        <p:spPr>
          <a:xfrm>
            <a:off x="8504096" y="6510664"/>
            <a:ext cx="4044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2136195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Wei Strat Theme v2">
  <a:themeElements>
    <a:clrScheme name="Fluke Strat 2015">
      <a:dk1>
        <a:sysClr val="windowText" lastClr="000000"/>
      </a:dk1>
      <a:lt1>
        <a:sysClr val="window" lastClr="FFFFFF"/>
      </a:lt1>
      <a:dk2>
        <a:srgbClr val="336699"/>
      </a:dk2>
      <a:lt2>
        <a:srgbClr val="EEECE1"/>
      </a:lt2>
      <a:accent1>
        <a:srgbClr val="FFC31E"/>
      </a:accent1>
      <a:accent2>
        <a:srgbClr val="003B78"/>
      </a:accent2>
      <a:accent3>
        <a:srgbClr val="E88200"/>
      </a:accent3>
      <a:accent4>
        <a:srgbClr val="009600"/>
      </a:accent4>
      <a:accent5>
        <a:srgbClr val="CD0000"/>
      </a:accent5>
      <a:accent6>
        <a:srgbClr val="7030A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ei Strat Theme v2" id="{FEB81FB9-DA59-47D7-AC1E-EBCBFF7CCB3F}" vid="{4D5E8EB2-AB00-4029-8CF3-0616595008B5}"/>
    </a:ext>
  </a:extLst>
</a:theme>
</file>

<file path=ppt/theme/theme2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6_Strat 2015 Theme">
  <a:themeElements>
    <a:clrScheme name="Fluke Strat 2015">
      <a:dk1>
        <a:sysClr val="windowText" lastClr="000000"/>
      </a:dk1>
      <a:lt1>
        <a:sysClr val="window" lastClr="FFFFFF"/>
      </a:lt1>
      <a:dk2>
        <a:srgbClr val="336699"/>
      </a:dk2>
      <a:lt2>
        <a:srgbClr val="EEECE1"/>
      </a:lt2>
      <a:accent1>
        <a:srgbClr val="FFC31E"/>
      </a:accent1>
      <a:accent2>
        <a:srgbClr val="003B78"/>
      </a:accent2>
      <a:accent3>
        <a:srgbClr val="E88200"/>
      </a:accent3>
      <a:accent4>
        <a:srgbClr val="009600"/>
      </a:accent4>
      <a:accent5>
        <a:srgbClr val="CD0000"/>
      </a:accent5>
      <a:accent6>
        <a:srgbClr val="7030A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trat 2015 Theme" id="{8E56AD6D-7081-4DBB-B32D-C2187B9E9553}" vid="{75B1EFE2-3202-43F3-9957-F6B2116CF394}"/>
    </a:ext>
  </a:extLst>
</a:theme>
</file>

<file path=ppt/theme/theme4.xml><?xml version="1.0" encoding="utf-8"?>
<a:theme xmlns:a="http://schemas.openxmlformats.org/drawingml/2006/main" name="67_Strat 2015 Theme">
  <a:themeElements>
    <a:clrScheme name="Fluke Strat 2015">
      <a:dk1>
        <a:sysClr val="windowText" lastClr="000000"/>
      </a:dk1>
      <a:lt1>
        <a:sysClr val="window" lastClr="FFFFFF"/>
      </a:lt1>
      <a:dk2>
        <a:srgbClr val="336699"/>
      </a:dk2>
      <a:lt2>
        <a:srgbClr val="EEECE1"/>
      </a:lt2>
      <a:accent1>
        <a:srgbClr val="FFC31E"/>
      </a:accent1>
      <a:accent2>
        <a:srgbClr val="003B78"/>
      </a:accent2>
      <a:accent3>
        <a:srgbClr val="E88200"/>
      </a:accent3>
      <a:accent4>
        <a:srgbClr val="009600"/>
      </a:accent4>
      <a:accent5>
        <a:srgbClr val="CD0000"/>
      </a:accent5>
      <a:accent6>
        <a:srgbClr val="7030A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trat 2015 Theme" id="{8E56AD6D-7081-4DBB-B32D-C2187B9E9553}" vid="{75B1EFE2-3202-43F3-9957-F6B2116CF394}"/>
    </a:ext>
  </a:extLst>
</a:theme>
</file>

<file path=ppt/theme/theme5.xml><?xml version="1.0" encoding="utf-8"?>
<a:theme xmlns:a="http://schemas.openxmlformats.org/drawingml/2006/main" name="17_Strat 2015 Theme">
  <a:themeElements>
    <a:clrScheme name="Fluke Strat 2015">
      <a:dk1>
        <a:sysClr val="windowText" lastClr="000000"/>
      </a:dk1>
      <a:lt1>
        <a:sysClr val="window" lastClr="FFFFFF"/>
      </a:lt1>
      <a:dk2>
        <a:srgbClr val="336699"/>
      </a:dk2>
      <a:lt2>
        <a:srgbClr val="EEECE1"/>
      </a:lt2>
      <a:accent1>
        <a:srgbClr val="FFC31E"/>
      </a:accent1>
      <a:accent2>
        <a:srgbClr val="003B78"/>
      </a:accent2>
      <a:accent3>
        <a:srgbClr val="E88200"/>
      </a:accent3>
      <a:accent4>
        <a:srgbClr val="009600"/>
      </a:accent4>
      <a:accent5>
        <a:srgbClr val="CD0000"/>
      </a:accent5>
      <a:accent6>
        <a:srgbClr val="7030A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trat 2015 Theme" id="{8E56AD6D-7081-4DBB-B32D-C2187B9E9553}" vid="{75B1EFE2-3202-43F3-9957-F6B2116CF394}"/>
    </a:ext>
  </a:extLst>
</a:theme>
</file>

<file path=ppt/theme/theme6.xml><?xml version="1.0" encoding="utf-8"?>
<a:theme xmlns:a="http://schemas.openxmlformats.org/drawingml/2006/main" name="3_Presentation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lIns="45720" tIns="45720" rIns="45720" bIns="45720" rtlCol="0" anchor="ctr"/>
      <a:lstStyle>
        <a:defPPr>
          <a:defRPr sz="1000" dirty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46C616F0C80140B706B17D6B6423ED" ma:contentTypeVersion="0" ma:contentTypeDescription="Create a new document." ma:contentTypeScope="" ma:versionID="199058ed9c247214dfdaa76d7c79a66c">
  <xsd:schema xmlns:xsd="http://www.w3.org/2001/XMLSchema" xmlns:xs="http://www.w3.org/2001/XMLSchema" xmlns:p="http://schemas.microsoft.com/office/2006/metadata/properties" xmlns:ns2="5ae57ab4-67b8-4914-9dd8-33afc50cc158" targetNamespace="http://schemas.microsoft.com/office/2006/metadata/properties" ma:root="true" ma:fieldsID="e94195a6f9d7ecd559b1618f41417bf7" ns2:_="">
    <xsd:import namespace="5ae57ab4-67b8-4914-9dd8-33afc50cc15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e57ab4-67b8-4914-9dd8-33afc50cc15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5ae57ab4-67b8-4914-9dd8-33afc50cc158">R5HKVDVZUFFQ-880-56</_dlc_DocId>
    <_dlc_DocIdUrl xmlns="5ae57ab4-67b8-4914-9dd8-33afc50cc158">
      <Url>http://fluke.intranet.danahertm.com/eng/l_2/_layouts/DocIdRedir.aspx?ID=R5HKVDVZUFFQ-880-56</Url>
      <Description>R5HKVDVZUFFQ-880-56</Description>
    </_dlc_DocIdUrl>
  </documentManagement>
</p:properties>
</file>

<file path=customXml/itemProps1.xml><?xml version="1.0" encoding="utf-8"?>
<ds:datastoreItem xmlns:ds="http://schemas.openxmlformats.org/officeDocument/2006/customXml" ds:itemID="{DF799E85-6A55-4336-8D2B-B9B82263D0C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473492-6BE1-4C88-BB31-3495ABF54E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e57ab4-67b8-4914-9dd8-33afc50cc15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59F0022-AE4B-4B82-9209-7FD5C3BA0D63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68343A72-54DA-41E7-AFE0-761D71EE1B7E}">
  <ds:schemaRefs>
    <ds:schemaRef ds:uri="http://purl.org/dc/dcmitype/"/>
    <ds:schemaRef ds:uri="http://schemas.microsoft.com/office/2006/documentManagement/types"/>
    <ds:schemaRef ds:uri="http://purl.org/dc/terms/"/>
    <ds:schemaRef ds:uri="http://www.w3.org/XML/1998/namespace"/>
    <ds:schemaRef ds:uri="http://purl.org/dc/elements/1.1/"/>
    <ds:schemaRef ds:uri="5ae57ab4-67b8-4914-9dd8-33afc50cc158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3721</TotalTime>
  <Words>493</Words>
  <Application>Microsoft Office PowerPoint</Application>
  <PresentationFormat>On-screen Show (4:3)</PresentationFormat>
  <Paragraphs>165</Paragraphs>
  <Slides>2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4" baseType="lpstr">
      <vt:lpstr>ＭＳ Ｐゴシック</vt:lpstr>
      <vt:lpstr>ＭＳ Ｐゴシック</vt:lpstr>
      <vt:lpstr>Arial</vt:lpstr>
      <vt:lpstr>Calibri</vt:lpstr>
      <vt:lpstr>Cambria Math</vt:lpstr>
      <vt:lpstr>Helvetica</vt:lpstr>
      <vt:lpstr>1_Wei Strat Theme v2</vt:lpstr>
      <vt:lpstr>6_Office Theme</vt:lpstr>
      <vt:lpstr>16_Strat 2015 Theme</vt:lpstr>
      <vt:lpstr>67_Strat 2015 Theme</vt:lpstr>
      <vt:lpstr>17_Strat 2015 Theme</vt:lpstr>
      <vt:lpstr>3_Presentation Template</vt:lpstr>
      <vt:lpstr>think-cell Slide</vt:lpstr>
      <vt:lpstr>Irradiance Meter</vt:lpstr>
      <vt:lpstr>Project Overview</vt:lpstr>
      <vt:lpstr>Solar Irradiance</vt:lpstr>
      <vt:lpstr>Measuring Solar Irradiance</vt:lpstr>
      <vt:lpstr>Spectral Sensitivity</vt:lpstr>
      <vt:lpstr>Types of panels available</vt:lpstr>
      <vt:lpstr>Spectral responsivity of different solar cells</vt:lpstr>
      <vt:lpstr>Calculating Irradiance</vt:lpstr>
      <vt:lpstr>Mismatch Factor (IEC 60904-7)</vt:lpstr>
      <vt:lpstr>Functional Overview</vt:lpstr>
      <vt:lpstr>First Design</vt:lpstr>
      <vt:lpstr>First Design</vt:lpstr>
      <vt:lpstr>Devices on the Market</vt:lpstr>
      <vt:lpstr>Results</vt:lpstr>
      <vt:lpstr>Measurement Comparison (average of 6.8 W/m2)</vt:lpstr>
      <vt:lpstr>Second Design</vt:lpstr>
      <vt:lpstr>Second Design</vt:lpstr>
      <vt:lpstr>Second Design</vt:lpstr>
      <vt:lpstr>Ways to improve design</vt:lpstr>
      <vt:lpstr>Additional Tasks</vt:lpstr>
      <vt:lpstr>Internship Take-aways</vt:lpstr>
    </vt:vector>
  </TitlesOfParts>
  <Company>Danaher T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u, Weishung</dc:creator>
  <cp:lastModifiedBy>Polyanskiy, Alex</cp:lastModifiedBy>
  <cp:revision>1141</cp:revision>
  <cp:lastPrinted>2016-11-15T16:30:33Z</cp:lastPrinted>
  <dcterms:created xsi:type="dcterms:W3CDTF">2015-10-27T19:57:55Z</dcterms:created>
  <dcterms:modified xsi:type="dcterms:W3CDTF">2019-08-14T02:09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5dba3c56-5806-4f20-be6b-73edff9f14e6</vt:lpwstr>
  </property>
  <property fmtid="{D5CDD505-2E9C-101B-9397-08002B2CF9AE}" pid="3" name="ContentTypeId">
    <vt:lpwstr>0x0101008F46C616F0C80140B706B17D6B6423ED</vt:lpwstr>
  </property>
</Properties>
</file>